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slideLayouts/slideLayout4.xml" ContentType="application/vnd.openxmlformats-officedocument.presentationml.slideLayout+xml"/>
  <Override PartName="/ppt/theme/theme2.xml" ContentType="application/vnd.openxmlformats-officedocument.theme+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3.xml" ContentType="application/vnd.openxmlformats-officedocument.theme+xml"/>
  <Override PartName="/ppt/slideLayouts/slideLayout9.xml" ContentType="application/vnd.openxmlformats-officedocument.presentationml.slideLayout+xml"/>
  <Override PartName="/ppt/theme/theme4.xml" ContentType="application/vnd.openxmlformats-officedocument.theme+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5.xml" ContentType="application/vnd.openxmlformats-officedocument.theme+xml"/>
  <Override PartName="/ppt/tags/tag2.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523" r:id="rId1"/>
    <p:sldMasterId id="2147484545" r:id="rId2"/>
    <p:sldMasterId id="2147484552" r:id="rId3"/>
    <p:sldMasterId id="2147484563" r:id="rId4"/>
    <p:sldMasterId id="2147484569" r:id="rId5"/>
  </p:sldMasterIdLst>
  <p:notesMasterIdLst>
    <p:notesMasterId r:id="rId24"/>
  </p:notesMasterIdLst>
  <p:handoutMasterIdLst>
    <p:handoutMasterId r:id="rId25"/>
  </p:handoutMasterIdLst>
  <p:sldIdLst>
    <p:sldId id="1628" r:id="rId6"/>
    <p:sldId id="1622" r:id="rId7"/>
    <p:sldId id="1606" r:id="rId8"/>
    <p:sldId id="1623" r:id="rId9"/>
    <p:sldId id="1624" r:id="rId10"/>
    <p:sldId id="1613" r:id="rId11"/>
    <p:sldId id="1625" r:id="rId12"/>
    <p:sldId id="1626" r:id="rId13"/>
    <p:sldId id="1620" r:id="rId14"/>
    <p:sldId id="1621" r:id="rId15"/>
    <p:sldId id="1614" r:id="rId16"/>
    <p:sldId id="1615" r:id="rId17"/>
    <p:sldId id="1616" r:id="rId18"/>
    <p:sldId id="1617" r:id="rId19"/>
    <p:sldId id="1618" r:id="rId20"/>
    <p:sldId id="1619" r:id="rId21"/>
    <p:sldId id="1627" r:id="rId22"/>
    <p:sldId id="1502" r:id="rId23"/>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D7D31"/>
    <a:srgbClr val="4472C4"/>
    <a:srgbClr val="5ACBF0"/>
    <a:srgbClr val="8597BE"/>
    <a:srgbClr val="0D7595"/>
    <a:srgbClr val="005AA1"/>
    <a:srgbClr val="FCB713"/>
    <a:srgbClr val="002864"/>
    <a:srgbClr val="002050"/>
    <a:srgbClr val="00BC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3720" autoAdjust="0"/>
    <p:restoredTop sz="72452" autoAdjust="0"/>
  </p:normalViewPr>
  <p:slideViewPr>
    <p:cSldViewPr snapToGrid="0">
      <p:cViewPr varScale="1">
        <p:scale>
          <a:sx n="75" d="100"/>
          <a:sy n="75" d="100"/>
        </p:scale>
        <p:origin x="908" y="36"/>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80" d="100"/>
        <a:sy n="80" d="100"/>
      </p:scale>
      <p:origin x="0" y="0"/>
    </p:cViewPr>
  </p:sorterViewPr>
  <p:notesViewPr>
    <p:cSldViewPr snapToGrid="0" showGuides="1">
      <p:cViewPr varScale="1">
        <p:scale>
          <a:sx n="69" d="100"/>
          <a:sy n="69" d="100"/>
        </p:scale>
        <p:origin x="3584" y="6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commentAuthors" Target="commentAuthors.xml"/><Relationship Id="rId3" Type="http://schemas.openxmlformats.org/officeDocument/2006/relationships/slideMaster" Target="slideMasters/slideMaster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microsoft.com/office/2015/10/relationships/revisionInfo" Target="revisionInfo.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presProps" Target="presProps.xml"/><Relationship Id="rId30"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6842990-62A4-4545-B120-1F8AF25A0D6E}" type="doc">
      <dgm:prSet loTypeId="urn:microsoft.com/office/officeart/2005/8/layout/vList5" loCatId="list" qsTypeId="urn:microsoft.com/office/officeart/2005/8/quickstyle/simple1" qsCatId="simple" csTypeId="urn:microsoft.com/office/officeart/2005/8/colors/accent1_1" csCatId="accent1" phldr="1"/>
      <dgm:spPr/>
      <dgm:t>
        <a:bodyPr/>
        <a:lstStyle/>
        <a:p>
          <a:endParaRPr lang="en-US"/>
        </a:p>
      </dgm:t>
    </dgm:pt>
    <dgm:pt modelId="{0FF8BA2A-500B-413D-8B7A-0FD72A53075A}">
      <dgm:prSet phldrT="[Text]" custT="1">
        <dgm:style>
          <a:lnRef idx="0">
            <a:schemeClr val="accent1"/>
          </a:lnRef>
          <a:fillRef idx="3">
            <a:schemeClr val="accent1"/>
          </a:fillRef>
          <a:effectRef idx="3">
            <a:schemeClr val="accent1"/>
          </a:effectRef>
          <a:fontRef idx="minor">
            <a:schemeClr val="lt1"/>
          </a:fontRef>
        </dgm:style>
      </dgm:prSet>
      <dgm:spPr/>
      <dgm:t>
        <a:bodyPr/>
        <a:lstStyle/>
        <a:p>
          <a:pPr algn="ctr"/>
          <a:r>
            <a:rPr lang="en-US" sz="3200" dirty="0">
              <a:solidFill>
                <a:schemeClr val="bg1"/>
              </a:solidFill>
              <a:latin typeface="+mj-lt"/>
            </a:rPr>
            <a:t>Business Understanding</a:t>
          </a:r>
        </a:p>
      </dgm:t>
    </dgm:pt>
    <dgm:pt modelId="{A445CB5E-895F-4150-B184-2C8283752FC5}" type="parTrans" cxnId="{A346880C-19BB-492E-86E8-A5888A7956E2}">
      <dgm:prSet/>
      <dgm:spPr/>
      <dgm:t>
        <a:bodyPr/>
        <a:lstStyle/>
        <a:p>
          <a:endParaRPr lang="en-US" sz="2000">
            <a:solidFill>
              <a:schemeClr val="bg2"/>
            </a:solidFill>
            <a:latin typeface="+mj-lt"/>
          </a:endParaRPr>
        </a:p>
      </dgm:t>
    </dgm:pt>
    <dgm:pt modelId="{F4903262-3BB8-4A76-A3AA-54C0993BC220}" type="sibTrans" cxnId="{A346880C-19BB-492E-86E8-A5888A7956E2}">
      <dgm:prSet/>
      <dgm:spPr/>
      <dgm:t>
        <a:bodyPr/>
        <a:lstStyle/>
        <a:p>
          <a:endParaRPr lang="en-US" sz="2000">
            <a:solidFill>
              <a:schemeClr val="bg2"/>
            </a:solidFill>
            <a:latin typeface="+mj-lt"/>
          </a:endParaRPr>
        </a:p>
      </dgm:t>
    </dgm:pt>
    <dgm:pt modelId="{8589F281-C004-49C2-9A17-144391E503DE}">
      <dgm:prSet phldrT="[Text]" custT="1">
        <dgm:style>
          <a:lnRef idx="0">
            <a:schemeClr val="accent1"/>
          </a:lnRef>
          <a:fillRef idx="3">
            <a:schemeClr val="accent1"/>
          </a:fillRef>
          <a:effectRef idx="3">
            <a:schemeClr val="accent1"/>
          </a:effectRef>
          <a:fontRef idx="minor">
            <a:schemeClr val="lt1"/>
          </a:fontRef>
        </dgm:style>
      </dgm:prSet>
      <dgm:spPr/>
      <dgm:t>
        <a:bodyPr/>
        <a:lstStyle/>
        <a:p>
          <a:r>
            <a:rPr lang="en-US" sz="2000" dirty="0">
              <a:solidFill>
                <a:schemeClr val="bg1"/>
              </a:solidFill>
              <a:latin typeface="+mj-lt"/>
            </a:rPr>
            <a:t>Define Objectives</a:t>
          </a:r>
        </a:p>
      </dgm:t>
    </dgm:pt>
    <dgm:pt modelId="{68ACA663-A4B5-4322-A79B-E6FDA765E412}" type="parTrans" cxnId="{B844C6F1-2818-4F3A-97BB-A513A7A6487D}">
      <dgm:prSet/>
      <dgm:spPr/>
      <dgm:t>
        <a:bodyPr/>
        <a:lstStyle/>
        <a:p>
          <a:endParaRPr lang="en-US" sz="2000">
            <a:solidFill>
              <a:schemeClr val="bg2"/>
            </a:solidFill>
            <a:latin typeface="+mj-lt"/>
          </a:endParaRPr>
        </a:p>
      </dgm:t>
    </dgm:pt>
    <dgm:pt modelId="{C3FF912E-6EAA-40C0-8E91-AAAED8175040}" type="sibTrans" cxnId="{B844C6F1-2818-4F3A-97BB-A513A7A6487D}">
      <dgm:prSet/>
      <dgm:spPr/>
      <dgm:t>
        <a:bodyPr/>
        <a:lstStyle/>
        <a:p>
          <a:endParaRPr lang="en-US" sz="2000">
            <a:solidFill>
              <a:schemeClr val="bg2"/>
            </a:solidFill>
            <a:latin typeface="+mj-lt"/>
          </a:endParaRPr>
        </a:p>
      </dgm:t>
    </dgm:pt>
    <dgm:pt modelId="{7C9DA717-4609-4F35-9627-FBCE587B2E07}">
      <dgm:prSet phldrT="[Text]" custT="1">
        <dgm:style>
          <a:lnRef idx="0">
            <a:schemeClr val="accent1"/>
          </a:lnRef>
          <a:fillRef idx="3">
            <a:schemeClr val="accent1"/>
          </a:fillRef>
          <a:effectRef idx="3">
            <a:schemeClr val="accent1"/>
          </a:effectRef>
          <a:fontRef idx="minor">
            <a:schemeClr val="lt1"/>
          </a:fontRef>
        </dgm:style>
      </dgm:prSet>
      <dgm:spPr/>
      <dgm:t>
        <a:bodyPr/>
        <a:lstStyle/>
        <a:p>
          <a:r>
            <a:rPr lang="en-US" sz="2000" dirty="0">
              <a:solidFill>
                <a:schemeClr val="bg1"/>
              </a:solidFill>
              <a:latin typeface="+mj-lt"/>
            </a:rPr>
            <a:t>Identify Data Sources</a:t>
          </a:r>
        </a:p>
      </dgm:t>
    </dgm:pt>
    <dgm:pt modelId="{E5D39B11-6038-4BAB-A377-66C89B23A4FE}" type="parTrans" cxnId="{220E0694-B595-46BE-BDB9-2B1763BF7F42}">
      <dgm:prSet/>
      <dgm:spPr/>
      <dgm:t>
        <a:bodyPr/>
        <a:lstStyle/>
        <a:p>
          <a:endParaRPr lang="en-US" sz="2000">
            <a:solidFill>
              <a:schemeClr val="bg2"/>
            </a:solidFill>
            <a:latin typeface="+mj-lt"/>
          </a:endParaRPr>
        </a:p>
      </dgm:t>
    </dgm:pt>
    <dgm:pt modelId="{C70C4ADA-4F3B-4BCA-9873-A32F1BD4BEED}" type="sibTrans" cxnId="{220E0694-B595-46BE-BDB9-2B1763BF7F42}">
      <dgm:prSet/>
      <dgm:spPr/>
      <dgm:t>
        <a:bodyPr/>
        <a:lstStyle/>
        <a:p>
          <a:endParaRPr lang="en-US" sz="2000">
            <a:solidFill>
              <a:schemeClr val="bg2"/>
            </a:solidFill>
            <a:latin typeface="+mj-lt"/>
          </a:endParaRPr>
        </a:p>
      </dgm:t>
    </dgm:pt>
    <dgm:pt modelId="{F1A8E0FB-6830-44B9-AD5D-2C6541803F4D}">
      <dgm:prSet phldrT="[Text]" custT="1"/>
      <dgm:spPr/>
      <dgm:t>
        <a:bodyPr/>
        <a:lstStyle/>
        <a:p>
          <a:pPr algn="ctr"/>
          <a:r>
            <a:rPr lang="en-US" sz="3200">
              <a:latin typeface="+mj-lt"/>
            </a:rPr>
            <a:t>Data Acquisition and Understanding</a:t>
          </a:r>
          <a:endParaRPr lang="en-US" sz="3200" dirty="0">
            <a:latin typeface="+mj-lt"/>
          </a:endParaRPr>
        </a:p>
      </dgm:t>
    </dgm:pt>
    <dgm:pt modelId="{BA9882FF-0D62-440B-AE35-07B5440B7352}" type="parTrans" cxnId="{DA864F5A-43C0-4EAB-ACD8-C653DCDBC285}">
      <dgm:prSet/>
      <dgm:spPr/>
      <dgm:t>
        <a:bodyPr/>
        <a:lstStyle/>
        <a:p>
          <a:endParaRPr lang="en-US" sz="2000">
            <a:solidFill>
              <a:schemeClr val="bg2"/>
            </a:solidFill>
            <a:latin typeface="+mj-lt"/>
          </a:endParaRPr>
        </a:p>
      </dgm:t>
    </dgm:pt>
    <dgm:pt modelId="{BE3BCC92-A824-45B0-AD74-589AA75A91ED}" type="sibTrans" cxnId="{DA864F5A-43C0-4EAB-ACD8-C653DCDBC285}">
      <dgm:prSet/>
      <dgm:spPr/>
      <dgm:t>
        <a:bodyPr/>
        <a:lstStyle/>
        <a:p>
          <a:endParaRPr lang="en-US" sz="2000">
            <a:solidFill>
              <a:schemeClr val="bg2"/>
            </a:solidFill>
            <a:latin typeface="+mj-lt"/>
          </a:endParaRPr>
        </a:p>
      </dgm:t>
    </dgm:pt>
    <dgm:pt modelId="{6DCAF490-84DF-45AB-95F8-850141BC8BDF}">
      <dgm:prSet phldrT="[Text]" custT="1"/>
      <dgm:spPr/>
      <dgm:t>
        <a:bodyPr/>
        <a:lstStyle/>
        <a:p>
          <a:r>
            <a:rPr lang="en-US" sz="1900">
              <a:latin typeface="+mj-lt"/>
            </a:rPr>
            <a:t>Ingest Data</a:t>
          </a:r>
          <a:endParaRPr lang="en-US" sz="1900" dirty="0">
            <a:latin typeface="+mj-lt"/>
          </a:endParaRPr>
        </a:p>
      </dgm:t>
    </dgm:pt>
    <dgm:pt modelId="{313354FE-947E-4C91-850E-55158EB5406E}" type="parTrans" cxnId="{DB01149F-013B-4AAC-83B8-EA5A02812FB1}">
      <dgm:prSet/>
      <dgm:spPr/>
      <dgm:t>
        <a:bodyPr/>
        <a:lstStyle/>
        <a:p>
          <a:endParaRPr lang="en-US" sz="2000">
            <a:solidFill>
              <a:schemeClr val="bg2"/>
            </a:solidFill>
            <a:latin typeface="+mj-lt"/>
          </a:endParaRPr>
        </a:p>
      </dgm:t>
    </dgm:pt>
    <dgm:pt modelId="{263CB43B-A0A5-48BB-9C20-6635267C3C22}" type="sibTrans" cxnId="{DB01149F-013B-4AAC-83B8-EA5A02812FB1}">
      <dgm:prSet/>
      <dgm:spPr/>
      <dgm:t>
        <a:bodyPr/>
        <a:lstStyle/>
        <a:p>
          <a:endParaRPr lang="en-US" sz="2000">
            <a:solidFill>
              <a:schemeClr val="bg2"/>
            </a:solidFill>
            <a:latin typeface="+mj-lt"/>
          </a:endParaRPr>
        </a:p>
      </dgm:t>
    </dgm:pt>
    <dgm:pt modelId="{FFA8810D-171E-4ADC-9CA8-AD57E9D504B9}">
      <dgm:prSet phldrT="[Text]" custT="1"/>
      <dgm:spPr/>
      <dgm:t>
        <a:bodyPr/>
        <a:lstStyle/>
        <a:p>
          <a:r>
            <a:rPr lang="en-US" sz="1900">
              <a:latin typeface="+mj-lt"/>
            </a:rPr>
            <a:t>Explore Data</a:t>
          </a:r>
          <a:endParaRPr lang="en-US" sz="1900" dirty="0">
            <a:latin typeface="+mj-lt"/>
          </a:endParaRPr>
        </a:p>
      </dgm:t>
    </dgm:pt>
    <dgm:pt modelId="{5D65951A-CE03-4794-9B2D-0A910A6F7FFB}" type="parTrans" cxnId="{E0CB53AF-1846-4839-A817-1BC95F8C73F9}">
      <dgm:prSet/>
      <dgm:spPr/>
      <dgm:t>
        <a:bodyPr/>
        <a:lstStyle/>
        <a:p>
          <a:endParaRPr lang="en-US" sz="2000">
            <a:solidFill>
              <a:schemeClr val="bg2"/>
            </a:solidFill>
            <a:latin typeface="+mj-lt"/>
          </a:endParaRPr>
        </a:p>
      </dgm:t>
    </dgm:pt>
    <dgm:pt modelId="{39C8D19E-6ADE-404A-843B-5F7020E72704}" type="sibTrans" cxnId="{E0CB53AF-1846-4839-A817-1BC95F8C73F9}">
      <dgm:prSet/>
      <dgm:spPr/>
      <dgm:t>
        <a:bodyPr/>
        <a:lstStyle/>
        <a:p>
          <a:endParaRPr lang="en-US" sz="2000">
            <a:solidFill>
              <a:schemeClr val="bg2"/>
            </a:solidFill>
            <a:latin typeface="+mj-lt"/>
          </a:endParaRPr>
        </a:p>
      </dgm:t>
    </dgm:pt>
    <dgm:pt modelId="{D66E06A0-8A7E-4EC6-8113-DDE9A8B91FA6}">
      <dgm:prSet phldrT="[Text]" custT="1"/>
      <dgm:spPr/>
      <dgm:t>
        <a:bodyPr/>
        <a:lstStyle/>
        <a:p>
          <a:pPr algn="ctr"/>
          <a:r>
            <a:rPr lang="en-US" sz="3200">
              <a:latin typeface="+mj-lt"/>
            </a:rPr>
            <a:t>Modeling</a:t>
          </a:r>
          <a:endParaRPr lang="en-US" sz="3200" dirty="0">
            <a:latin typeface="+mj-lt"/>
          </a:endParaRPr>
        </a:p>
      </dgm:t>
    </dgm:pt>
    <dgm:pt modelId="{C867E6D7-68AF-43C6-9E80-BCCDD787550D}" type="parTrans" cxnId="{BEEC91A6-BF3F-4E21-859A-6D47ACAB8869}">
      <dgm:prSet/>
      <dgm:spPr/>
      <dgm:t>
        <a:bodyPr/>
        <a:lstStyle/>
        <a:p>
          <a:endParaRPr lang="en-US" sz="2000">
            <a:solidFill>
              <a:schemeClr val="bg2"/>
            </a:solidFill>
            <a:latin typeface="+mj-lt"/>
          </a:endParaRPr>
        </a:p>
      </dgm:t>
    </dgm:pt>
    <dgm:pt modelId="{4B0A02DB-F299-4AF6-A72B-B326FF7FE0BF}" type="sibTrans" cxnId="{BEEC91A6-BF3F-4E21-859A-6D47ACAB8869}">
      <dgm:prSet/>
      <dgm:spPr/>
      <dgm:t>
        <a:bodyPr/>
        <a:lstStyle/>
        <a:p>
          <a:endParaRPr lang="en-US" sz="2000">
            <a:solidFill>
              <a:schemeClr val="bg2"/>
            </a:solidFill>
            <a:latin typeface="+mj-lt"/>
          </a:endParaRPr>
        </a:p>
      </dgm:t>
    </dgm:pt>
    <dgm:pt modelId="{E08D914F-4215-41A4-8173-F3CBF316F76B}">
      <dgm:prSet phldrT="[Text]" custT="1"/>
      <dgm:spPr/>
      <dgm:t>
        <a:bodyPr/>
        <a:lstStyle/>
        <a:p>
          <a:r>
            <a:rPr lang="en-US" sz="2000">
              <a:latin typeface="+mj-lt"/>
            </a:rPr>
            <a:t>Feature Selection</a:t>
          </a:r>
          <a:endParaRPr lang="en-US" sz="2000" dirty="0">
            <a:latin typeface="+mj-lt"/>
          </a:endParaRPr>
        </a:p>
      </dgm:t>
    </dgm:pt>
    <dgm:pt modelId="{6E6AFD42-BD05-4248-B472-1EFABC017324}" type="parTrans" cxnId="{61EC2C2C-336E-4152-BF38-E133255426BA}">
      <dgm:prSet/>
      <dgm:spPr/>
      <dgm:t>
        <a:bodyPr/>
        <a:lstStyle/>
        <a:p>
          <a:endParaRPr lang="en-US" sz="2000">
            <a:solidFill>
              <a:schemeClr val="bg2"/>
            </a:solidFill>
            <a:latin typeface="+mj-lt"/>
          </a:endParaRPr>
        </a:p>
      </dgm:t>
    </dgm:pt>
    <dgm:pt modelId="{1759AAC5-ADE9-4C55-8CBC-F1BA87C7A449}" type="sibTrans" cxnId="{61EC2C2C-336E-4152-BF38-E133255426BA}">
      <dgm:prSet/>
      <dgm:spPr/>
      <dgm:t>
        <a:bodyPr/>
        <a:lstStyle/>
        <a:p>
          <a:endParaRPr lang="en-US" sz="2000">
            <a:solidFill>
              <a:schemeClr val="bg2"/>
            </a:solidFill>
            <a:latin typeface="+mj-lt"/>
          </a:endParaRPr>
        </a:p>
      </dgm:t>
    </dgm:pt>
    <dgm:pt modelId="{EFB0480E-A451-4750-9076-B8DA17ACD683}">
      <dgm:prSet phldrT="[Text]" custT="1"/>
      <dgm:spPr/>
      <dgm:t>
        <a:bodyPr/>
        <a:lstStyle/>
        <a:p>
          <a:r>
            <a:rPr lang="en-US" sz="2000">
              <a:latin typeface="+mj-lt"/>
            </a:rPr>
            <a:t>Create and Train Model</a:t>
          </a:r>
          <a:endParaRPr lang="en-US" sz="2000" dirty="0">
            <a:latin typeface="+mj-lt"/>
          </a:endParaRPr>
        </a:p>
      </dgm:t>
    </dgm:pt>
    <dgm:pt modelId="{02255FE4-1BB8-44C8-8FC3-2DB4276D8435}" type="parTrans" cxnId="{F0686254-8BC6-438F-8EFC-387D3C1B4582}">
      <dgm:prSet/>
      <dgm:spPr/>
      <dgm:t>
        <a:bodyPr/>
        <a:lstStyle/>
        <a:p>
          <a:endParaRPr lang="en-US" sz="2000">
            <a:solidFill>
              <a:schemeClr val="bg2"/>
            </a:solidFill>
            <a:latin typeface="+mj-lt"/>
          </a:endParaRPr>
        </a:p>
      </dgm:t>
    </dgm:pt>
    <dgm:pt modelId="{7ECF0E78-DA31-4B08-B8BA-D36DB4135973}" type="sibTrans" cxnId="{F0686254-8BC6-438F-8EFC-387D3C1B4582}">
      <dgm:prSet/>
      <dgm:spPr/>
      <dgm:t>
        <a:bodyPr/>
        <a:lstStyle/>
        <a:p>
          <a:endParaRPr lang="en-US" sz="2000">
            <a:solidFill>
              <a:schemeClr val="bg2"/>
            </a:solidFill>
            <a:latin typeface="+mj-lt"/>
          </a:endParaRPr>
        </a:p>
      </dgm:t>
    </dgm:pt>
    <dgm:pt modelId="{31989D70-38F8-40B4-A5B4-5B64244B04DB}">
      <dgm:prSet phldrT="[Text]" custT="1"/>
      <dgm:spPr/>
      <dgm:t>
        <a:bodyPr/>
        <a:lstStyle/>
        <a:p>
          <a:pPr algn="ctr"/>
          <a:r>
            <a:rPr lang="en-US" sz="3200">
              <a:latin typeface="+mj-lt"/>
            </a:rPr>
            <a:t>Deployment</a:t>
          </a:r>
          <a:endParaRPr lang="en-US" sz="3200" dirty="0">
            <a:latin typeface="+mj-lt"/>
          </a:endParaRPr>
        </a:p>
      </dgm:t>
    </dgm:pt>
    <dgm:pt modelId="{E572721F-5C44-451C-B622-59B69949FB6F}" type="parTrans" cxnId="{991DC740-DAA8-4D0F-9BAB-A0D216E7CC9C}">
      <dgm:prSet/>
      <dgm:spPr/>
      <dgm:t>
        <a:bodyPr/>
        <a:lstStyle/>
        <a:p>
          <a:endParaRPr lang="en-US" sz="2000">
            <a:solidFill>
              <a:schemeClr val="bg2"/>
            </a:solidFill>
            <a:latin typeface="+mj-lt"/>
          </a:endParaRPr>
        </a:p>
      </dgm:t>
    </dgm:pt>
    <dgm:pt modelId="{FF3730C5-5E1C-4ACF-986C-1F8BDC2A87DC}" type="sibTrans" cxnId="{991DC740-DAA8-4D0F-9BAB-A0D216E7CC9C}">
      <dgm:prSet/>
      <dgm:spPr/>
      <dgm:t>
        <a:bodyPr/>
        <a:lstStyle/>
        <a:p>
          <a:endParaRPr lang="en-US" sz="2000">
            <a:solidFill>
              <a:schemeClr val="bg2"/>
            </a:solidFill>
            <a:latin typeface="+mj-lt"/>
          </a:endParaRPr>
        </a:p>
      </dgm:t>
    </dgm:pt>
    <dgm:pt modelId="{75DF6D0E-EF2D-4899-8D56-11F561E3DB25}">
      <dgm:prSet phldrT="[Text]" custT="1"/>
      <dgm:spPr/>
      <dgm:t>
        <a:bodyPr/>
        <a:lstStyle/>
        <a:p>
          <a:pPr algn="ctr"/>
          <a:r>
            <a:rPr lang="en-US" sz="3200">
              <a:latin typeface="+mj-lt"/>
            </a:rPr>
            <a:t>Customer Acceptance</a:t>
          </a:r>
          <a:endParaRPr lang="en-US" sz="3200" dirty="0">
            <a:latin typeface="+mj-lt"/>
          </a:endParaRPr>
        </a:p>
      </dgm:t>
    </dgm:pt>
    <dgm:pt modelId="{510C85D3-5932-4392-B61F-F44832C002FA}" type="parTrans" cxnId="{6D864F09-96B6-4444-95BB-D36241D055AD}">
      <dgm:prSet/>
      <dgm:spPr/>
      <dgm:t>
        <a:bodyPr/>
        <a:lstStyle/>
        <a:p>
          <a:endParaRPr lang="en-US" sz="2000">
            <a:solidFill>
              <a:schemeClr val="bg2"/>
            </a:solidFill>
            <a:latin typeface="+mj-lt"/>
          </a:endParaRPr>
        </a:p>
      </dgm:t>
    </dgm:pt>
    <dgm:pt modelId="{EEE1824F-AA0C-4316-B13D-ED5B6C4A0BFF}" type="sibTrans" cxnId="{6D864F09-96B6-4444-95BB-D36241D055AD}">
      <dgm:prSet/>
      <dgm:spPr/>
      <dgm:t>
        <a:bodyPr/>
        <a:lstStyle/>
        <a:p>
          <a:endParaRPr lang="en-US" sz="2000">
            <a:solidFill>
              <a:schemeClr val="bg2"/>
            </a:solidFill>
            <a:latin typeface="+mj-lt"/>
          </a:endParaRPr>
        </a:p>
      </dgm:t>
    </dgm:pt>
    <dgm:pt modelId="{07E81225-DE19-4D3E-99CD-FC123A33837F}">
      <dgm:prSet phldrT="[Text]" custT="1"/>
      <dgm:spPr/>
      <dgm:t>
        <a:bodyPr/>
        <a:lstStyle/>
        <a:p>
          <a:r>
            <a:rPr lang="en-US" sz="2000">
              <a:latin typeface="+mj-lt"/>
            </a:rPr>
            <a:t>Operationalize</a:t>
          </a:r>
          <a:endParaRPr lang="en-US" sz="2000" dirty="0">
            <a:latin typeface="+mj-lt"/>
          </a:endParaRPr>
        </a:p>
      </dgm:t>
    </dgm:pt>
    <dgm:pt modelId="{642D5DAC-991D-456E-978D-DDF8870668E2}" type="parTrans" cxnId="{F9E74B76-F3C8-474B-BE2E-672A4119380A}">
      <dgm:prSet/>
      <dgm:spPr/>
      <dgm:t>
        <a:bodyPr/>
        <a:lstStyle/>
        <a:p>
          <a:endParaRPr lang="en-US" sz="2000">
            <a:solidFill>
              <a:schemeClr val="bg2"/>
            </a:solidFill>
            <a:latin typeface="+mj-lt"/>
          </a:endParaRPr>
        </a:p>
      </dgm:t>
    </dgm:pt>
    <dgm:pt modelId="{71EEF2D0-2FC1-4663-8EEF-F8400FED6EFD}" type="sibTrans" cxnId="{F9E74B76-F3C8-474B-BE2E-672A4119380A}">
      <dgm:prSet/>
      <dgm:spPr/>
      <dgm:t>
        <a:bodyPr/>
        <a:lstStyle/>
        <a:p>
          <a:endParaRPr lang="en-US" sz="2000">
            <a:solidFill>
              <a:schemeClr val="bg2"/>
            </a:solidFill>
            <a:latin typeface="+mj-lt"/>
          </a:endParaRPr>
        </a:p>
      </dgm:t>
    </dgm:pt>
    <dgm:pt modelId="{0EBDD81E-61F5-4638-8D23-E64C5784A7CF}">
      <dgm:prSet phldrT="[Text]" custT="1"/>
      <dgm:spPr/>
      <dgm:t>
        <a:bodyPr/>
        <a:lstStyle/>
        <a:p>
          <a:r>
            <a:rPr lang="en-US" sz="1900">
              <a:latin typeface="+mj-lt"/>
            </a:rPr>
            <a:t>Testing and Validation</a:t>
          </a:r>
          <a:endParaRPr lang="en-US" sz="1900" dirty="0">
            <a:latin typeface="+mj-lt"/>
          </a:endParaRPr>
        </a:p>
      </dgm:t>
    </dgm:pt>
    <dgm:pt modelId="{5BB68B6B-2470-4B4F-B825-03319C46AB79}" type="parTrans" cxnId="{0652195D-79AA-41CB-A507-64DF25821FDC}">
      <dgm:prSet/>
      <dgm:spPr/>
      <dgm:t>
        <a:bodyPr/>
        <a:lstStyle/>
        <a:p>
          <a:endParaRPr lang="en-US" sz="2000">
            <a:solidFill>
              <a:schemeClr val="bg2"/>
            </a:solidFill>
            <a:latin typeface="+mj-lt"/>
          </a:endParaRPr>
        </a:p>
      </dgm:t>
    </dgm:pt>
    <dgm:pt modelId="{91158606-88ED-478A-99A3-FF66895B49FF}" type="sibTrans" cxnId="{0652195D-79AA-41CB-A507-64DF25821FDC}">
      <dgm:prSet/>
      <dgm:spPr/>
      <dgm:t>
        <a:bodyPr/>
        <a:lstStyle/>
        <a:p>
          <a:endParaRPr lang="en-US" sz="2000">
            <a:solidFill>
              <a:schemeClr val="bg2"/>
            </a:solidFill>
            <a:latin typeface="+mj-lt"/>
          </a:endParaRPr>
        </a:p>
      </dgm:t>
    </dgm:pt>
    <dgm:pt modelId="{8A560357-68DD-41D8-841B-C94F1FF7F8C1}">
      <dgm:prSet phldrT="[Text]" custT="1"/>
      <dgm:spPr/>
      <dgm:t>
        <a:bodyPr/>
        <a:lstStyle/>
        <a:p>
          <a:r>
            <a:rPr lang="en-US" sz="1900">
              <a:latin typeface="+mj-lt"/>
            </a:rPr>
            <a:t>Update Data</a:t>
          </a:r>
          <a:endParaRPr lang="en-US" sz="1900" dirty="0">
            <a:latin typeface="+mj-lt"/>
          </a:endParaRPr>
        </a:p>
      </dgm:t>
    </dgm:pt>
    <dgm:pt modelId="{3BC3B257-E716-47FF-9C4E-A1CCC502A26F}" type="parTrans" cxnId="{6D9D5740-A78E-432A-A19B-79A7629DFBD0}">
      <dgm:prSet/>
      <dgm:spPr/>
      <dgm:t>
        <a:bodyPr/>
        <a:lstStyle/>
        <a:p>
          <a:endParaRPr lang="en-US" sz="2000">
            <a:solidFill>
              <a:schemeClr val="bg2"/>
            </a:solidFill>
            <a:latin typeface="+mj-lt"/>
          </a:endParaRPr>
        </a:p>
      </dgm:t>
    </dgm:pt>
    <dgm:pt modelId="{0F75D6C4-A5C5-4C0B-A3E7-E1F9127F0B24}" type="sibTrans" cxnId="{6D9D5740-A78E-432A-A19B-79A7629DFBD0}">
      <dgm:prSet/>
      <dgm:spPr/>
      <dgm:t>
        <a:bodyPr/>
        <a:lstStyle/>
        <a:p>
          <a:endParaRPr lang="en-US" sz="2000">
            <a:solidFill>
              <a:schemeClr val="bg2"/>
            </a:solidFill>
            <a:latin typeface="+mj-lt"/>
          </a:endParaRPr>
        </a:p>
      </dgm:t>
    </dgm:pt>
    <dgm:pt modelId="{051E23BA-27D6-402B-8FD0-643279078F48}">
      <dgm:prSet phldrT="[Text]" custT="1"/>
      <dgm:spPr/>
      <dgm:t>
        <a:bodyPr/>
        <a:lstStyle/>
        <a:p>
          <a:r>
            <a:rPr lang="en-US" sz="1900">
              <a:latin typeface="+mj-lt"/>
            </a:rPr>
            <a:t>Handoff</a:t>
          </a:r>
          <a:endParaRPr lang="en-US" sz="1900" dirty="0">
            <a:latin typeface="+mj-lt"/>
          </a:endParaRPr>
        </a:p>
      </dgm:t>
    </dgm:pt>
    <dgm:pt modelId="{DA361144-F3E9-4156-9CC2-FE98E458196C}" type="parTrans" cxnId="{9D250ACB-3782-4169-9513-D5939A72E14C}">
      <dgm:prSet/>
      <dgm:spPr/>
      <dgm:t>
        <a:bodyPr/>
        <a:lstStyle/>
        <a:p>
          <a:endParaRPr lang="en-US" sz="2000">
            <a:solidFill>
              <a:schemeClr val="bg2"/>
            </a:solidFill>
            <a:latin typeface="+mj-lt"/>
          </a:endParaRPr>
        </a:p>
      </dgm:t>
    </dgm:pt>
    <dgm:pt modelId="{AE55AD9A-A016-48D5-8B34-AF4339F64545}" type="sibTrans" cxnId="{9D250ACB-3782-4169-9513-D5939A72E14C}">
      <dgm:prSet/>
      <dgm:spPr/>
      <dgm:t>
        <a:bodyPr/>
        <a:lstStyle/>
        <a:p>
          <a:endParaRPr lang="en-US" sz="2000">
            <a:solidFill>
              <a:schemeClr val="bg2"/>
            </a:solidFill>
            <a:latin typeface="+mj-lt"/>
          </a:endParaRPr>
        </a:p>
      </dgm:t>
    </dgm:pt>
    <dgm:pt modelId="{22DA92B9-9C40-4A25-8285-966799791BE7}">
      <dgm:prSet phldrT="[Text]" custT="1"/>
      <dgm:spPr/>
      <dgm:t>
        <a:bodyPr/>
        <a:lstStyle/>
        <a:p>
          <a:r>
            <a:rPr lang="en-US" sz="1900">
              <a:latin typeface="+mj-lt"/>
            </a:rPr>
            <a:t>Re-train and re-score</a:t>
          </a:r>
          <a:endParaRPr lang="en-US" sz="1900" dirty="0">
            <a:latin typeface="+mj-lt"/>
          </a:endParaRPr>
        </a:p>
      </dgm:t>
    </dgm:pt>
    <dgm:pt modelId="{31A0D76F-F3CA-4A56-BA36-A4E6E0932F46}" type="parTrans" cxnId="{0E99CA05-F61F-4393-A01F-8CCEDBA18F50}">
      <dgm:prSet/>
      <dgm:spPr/>
      <dgm:t>
        <a:bodyPr/>
        <a:lstStyle/>
        <a:p>
          <a:endParaRPr lang="en-US" sz="2000">
            <a:solidFill>
              <a:schemeClr val="bg2"/>
            </a:solidFill>
            <a:latin typeface="+mj-lt"/>
          </a:endParaRPr>
        </a:p>
      </dgm:t>
    </dgm:pt>
    <dgm:pt modelId="{C2D43770-B53D-4E3F-BFD7-DA47BF161F8F}" type="sibTrans" cxnId="{0E99CA05-F61F-4393-A01F-8CCEDBA18F50}">
      <dgm:prSet/>
      <dgm:spPr/>
      <dgm:t>
        <a:bodyPr/>
        <a:lstStyle/>
        <a:p>
          <a:endParaRPr lang="en-US" sz="2000">
            <a:solidFill>
              <a:schemeClr val="bg2"/>
            </a:solidFill>
            <a:latin typeface="+mj-lt"/>
          </a:endParaRPr>
        </a:p>
      </dgm:t>
    </dgm:pt>
    <dgm:pt modelId="{C5ED45AB-5708-4618-8F2A-585D84BC9EAD}" type="pres">
      <dgm:prSet presAssocID="{A6842990-62A4-4545-B120-1F8AF25A0D6E}" presName="Name0" presStyleCnt="0">
        <dgm:presLayoutVars>
          <dgm:dir/>
          <dgm:animLvl val="lvl"/>
          <dgm:resizeHandles val="exact"/>
        </dgm:presLayoutVars>
      </dgm:prSet>
      <dgm:spPr/>
    </dgm:pt>
    <dgm:pt modelId="{210816C1-7BD4-4E1F-9BAF-45430065939E}" type="pres">
      <dgm:prSet presAssocID="{0FF8BA2A-500B-413D-8B7A-0FD72A53075A}" presName="linNode" presStyleCnt="0"/>
      <dgm:spPr/>
    </dgm:pt>
    <dgm:pt modelId="{FCE31E78-3DAC-4692-A464-D0C835B3F5C0}" type="pres">
      <dgm:prSet presAssocID="{0FF8BA2A-500B-413D-8B7A-0FD72A53075A}" presName="parentText" presStyleLbl="node1" presStyleIdx="0" presStyleCnt="5" custScaleX="202485">
        <dgm:presLayoutVars>
          <dgm:chMax val="1"/>
          <dgm:bulletEnabled val="1"/>
        </dgm:presLayoutVars>
      </dgm:prSet>
      <dgm:spPr/>
    </dgm:pt>
    <dgm:pt modelId="{43C6ABD0-F64A-458E-8A26-0D837897DC64}" type="pres">
      <dgm:prSet presAssocID="{0FF8BA2A-500B-413D-8B7A-0FD72A53075A}" presName="descendantText" presStyleLbl="alignAccFollowNode1" presStyleIdx="0" presStyleCnt="5">
        <dgm:presLayoutVars>
          <dgm:bulletEnabled val="1"/>
        </dgm:presLayoutVars>
      </dgm:prSet>
      <dgm:spPr/>
    </dgm:pt>
    <dgm:pt modelId="{46882EB6-A3B5-4F96-AFCB-DD20C8B79C51}" type="pres">
      <dgm:prSet presAssocID="{F4903262-3BB8-4A76-A3AA-54C0993BC220}" presName="sp" presStyleCnt="0"/>
      <dgm:spPr/>
    </dgm:pt>
    <dgm:pt modelId="{778044F5-F603-40D5-9552-BC7E2EC9D884}" type="pres">
      <dgm:prSet presAssocID="{F1A8E0FB-6830-44B9-AD5D-2C6541803F4D}" presName="linNode" presStyleCnt="0"/>
      <dgm:spPr/>
    </dgm:pt>
    <dgm:pt modelId="{3E606814-09D9-4B4C-8F40-66F312978EEB}" type="pres">
      <dgm:prSet presAssocID="{F1A8E0FB-6830-44B9-AD5D-2C6541803F4D}" presName="parentText" presStyleLbl="node1" presStyleIdx="1" presStyleCnt="5" custScaleX="202485">
        <dgm:presLayoutVars>
          <dgm:chMax val="1"/>
          <dgm:bulletEnabled val="1"/>
        </dgm:presLayoutVars>
      </dgm:prSet>
      <dgm:spPr/>
    </dgm:pt>
    <dgm:pt modelId="{B35FD520-5FF0-41BD-887C-8B0911FFCB12}" type="pres">
      <dgm:prSet presAssocID="{F1A8E0FB-6830-44B9-AD5D-2C6541803F4D}" presName="descendantText" presStyleLbl="alignAccFollowNode1" presStyleIdx="1" presStyleCnt="5" custScaleY="103237">
        <dgm:presLayoutVars>
          <dgm:bulletEnabled val="1"/>
        </dgm:presLayoutVars>
      </dgm:prSet>
      <dgm:spPr/>
    </dgm:pt>
    <dgm:pt modelId="{D5C5E9EF-7F27-4FF7-8CAB-C92EA47DC3D6}" type="pres">
      <dgm:prSet presAssocID="{BE3BCC92-A824-45B0-AD74-589AA75A91ED}" presName="sp" presStyleCnt="0"/>
      <dgm:spPr/>
    </dgm:pt>
    <dgm:pt modelId="{72C8B641-2F72-485E-A0ED-A940665DEF29}" type="pres">
      <dgm:prSet presAssocID="{D66E06A0-8A7E-4EC6-8113-DDE9A8B91FA6}" presName="linNode" presStyleCnt="0"/>
      <dgm:spPr/>
    </dgm:pt>
    <dgm:pt modelId="{D8CBC06D-2193-488F-8EDE-5FAA991E0B6B}" type="pres">
      <dgm:prSet presAssocID="{D66E06A0-8A7E-4EC6-8113-DDE9A8B91FA6}" presName="parentText" presStyleLbl="node1" presStyleIdx="2" presStyleCnt="5" custScaleX="202485">
        <dgm:presLayoutVars>
          <dgm:chMax val="1"/>
          <dgm:bulletEnabled val="1"/>
        </dgm:presLayoutVars>
      </dgm:prSet>
      <dgm:spPr/>
    </dgm:pt>
    <dgm:pt modelId="{EF322D6C-1CB6-431F-8B42-A64D898D2824}" type="pres">
      <dgm:prSet presAssocID="{D66E06A0-8A7E-4EC6-8113-DDE9A8B91FA6}" presName="descendantText" presStyleLbl="alignAccFollowNode1" presStyleIdx="2" presStyleCnt="5">
        <dgm:presLayoutVars>
          <dgm:bulletEnabled val="1"/>
        </dgm:presLayoutVars>
      </dgm:prSet>
      <dgm:spPr/>
    </dgm:pt>
    <dgm:pt modelId="{5D027A10-F74F-4727-9E3F-6EEA93EE4288}" type="pres">
      <dgm:prSet presAssocID="{4B0A02DB-F299-4AF6-A72B-B326FF7FE0BF}" presName="sp" presStyleCnt="0"/>
      <dgm:spPr/>
    </dgm:pt>
    <dgm:pt modelId="{6D857F1D-1E3D-4FB8-9D34-97C6D4E649D1}" type="pres">
      <dgm:prSet presAssocID="{31989D70-38F8-40B4-A5B4-5B64244B04DB}" presName="linNode" presStyleCnt="0"/>
      <dgm:spPr/>
    </dgm:pt>
    <dgm:pt modelId="{C971C0CD-D6D6-4BD2-B517-483DD2B85EA0}" type="pres">
      <dgm:prSet presAssocID="{31989D70-38F8-40B4-A5B4-5B64244B04DB}" presName="parentText" presStyleLbl="node1" presStyleIdx="3" presStyleCnt="5" custScaleX="202485">
        <dgm:presLayoutVars>
          <dgm:chMax val="1"/>
          <dgm:bulletEnabled val="1"/>
        </dgm:presLayoutVars>
      </dgm:prSet>
      <dgm:spPr/>
    </dgm:pt>
    <dgm:pt modelId="{DE1FE771-1582-4775-9E8F-B758D933162D}" type="pres">
      <dgm:prSet presAssocID="{31989D70-38F8-40B4-A5B4-5B64244B04DB}" presName="descendantText" presStyleLbl="alignAccFollowNode1" presStyleIdx="3" presStyleCnt="5">
        <dgm:presLayoutVars>
          <dgm:bulletEnabled val="1"/>
        </dgm:presLayoutVars>
      </dgm:prSet>
      <dgm:spPr/>
    </dgm:pt>
    <dgm:pt modelId="{396899F4-452F-4C21-9308-1A185EB0D170}" type="pres">
      <dgm:prSet presAssocID="{FF3730C5-5E1C-4ACF-986C-1F8BDC2A87DC}" presName="sp" presStyleCnt="0"/>
      <dgm:spPr/>
    </dgm:pt>
    <dgm:pt modelId="{0B8CE6DB-5E88-49FA-A351-9AFC9ADFC256}" type="pres">
      <dgm:prSet presAssocID="{75DF6D0E-EF2D-4899-8D56-11F561E3DB25}" presName="linNode" presStyleCnt="0"/>
      <dgm:spPr/>
    </dgm:pt>
    <dgm:pt modelId="{C5DBDEB5-64EF-486D-ADE8-9AD2774135B2}" type="pres">
      <dgm:prSet presAssocID="{75DF6D0E-EF2D-4899-8D56-11F561E3DB25}" presName="parentText" presStyleLbl="node1" presStyleIdx="4" presStyleCnt="5" custScaleX="202485">
        <dgm:presLayoutVars>
          <dgm:chMax val="1"/>
          <dgm:bulletEnabled val="1"/>
        </dgm:presLayoutVars>
      </dgm:prSet>
      <dgm:spPr/>
    </dgm:pt>
    <dgm:pt modelId="{E36319A3-4DDD-4596-A48B-3AFC2FB82E08}" type="pres">
      <dgm:prSet presAssocID="{75DF6D0E-EF2D-4899-8D56-11F561E3DB25}" presName="descendantText" presStyleLbl="alignAccFollowNode1" presStyleIdx="4" presStyleCnt="5">
        <dgm:presLayoutVars>
          <dgm:bulletEnabled val="1"/>
        </dgm:presLayoutVars>
      </dgm:prSet>
      <dgm:spPr/>
    </dgm:pt>
  </dgm:ptLst>
  <dgm:cxnLst>
    <dgm:cxn modelId="{0E99CA05-F61F-4393-A01F-8CCEDBA18F50}" srcId="{75DF6D0E-EF2D-4899-8D56-11F561E3DB25}" destId="{22DA92B9-9C40-4A25-8285-966799791BE7}" srcOrd="2" destOrd="0" parTransId="{31A0D76F-F3CA-4A56-BA36-A4E6E0932F46}" sibTransId="{C2D43770-B53D-4E3F-BFD7-DA47BF161F8F}"/>
    <dgm:cxn modelId="{6D864F09-96B6-4444-95BB-D36241D055AD}" srcId="{A6842990-62A4-4545-B120-1F8AF25A0D6E}" destId="{75DF6D0E-EF2D-4899-8D56-11F561E3DB25}" srcOrd="4" destOrd="0" parTransId="{510C85D3-5932-4392-B61F-F44832C002FA}" sibTransId="{EEE1824F-AA0C-4316-B13D-ED5B6C4A0BFF}"/>
    <dgm:cxn modelId="{A346880C-19BB-492E-86E8-A5888A7956E2}" srcId="{A6842990-62A4-4545-B120-1F8AF25A0D6E}" destId="{0FF8BA2A-500B-413D-8B7A-0FD72A53075A}" srcOrd="0" destOrd="0" parTransId="{A445CB5E-895F-4150-B184-2C8283752FC5}" sibTransId="{F4903262-3BB8-4A76-A3AA-54C0993BC220}"/>
    <dgm:cxn modelId="{61EC2C2C-336E-4152-BF38-E133255426BA}" srcId="{D66E06A0-8A7E-4EC6-8113-DDE9A8B91FA6}" destId="{E08D914F-4215-41A4-8173-F3CBF316F76B}" srcOrd="0" destOrd="0" parTransId="{6E6AFD42-BD05-4248-B472-1EFABC017324}" sibTransId="{1759AAC5-ADE9-4C55-8CBC-F1BA87C7A449}"/>
    <dgm:cxn modelId="{F4DF8B2E-967B-4C23-9FF5-BB008183100C}" type="presOf" srcId="{F1A8E0FB-6830-44B9-AD5D-2C6541803F4D}" destId="{3E606814-09D9-4B4C-8F40-66F312978EEB}" srcOrd="0" destOrd="0" presId="urn:microsoft.com/office/officeart/2005/8/layout/vList5"/>
    <dgm:cxn modelId="{8122CC33-B4F2-4AA4-9832-D53CD089768C}" type="presOf" srcId="{75DF6D0E-EF2D-4899-8D56-11F561E3DB25}" destId="{C5DBDEB5-64EF-486D-ADE8-9AD2774135B2}" srcOrd="0" destOrd="0" presId="urn:microsoft.com/office/officeart/2005/8/layout/vList5"/>
    <dgm:cxn modelId="{D9C32539-B0FF-4269-910E-8E2F3FB2481A}" type="presOf" srcId="{6DCAF490-84DF-45AB-95F8-850141BC8BDF}" destId="{B35FD520-5FF0-41BD-887C-8B0911FFCB12}" srcOrd="0" destOrd="0" presId="urn:microsoft.com/office/officeart/2005/8/layout/vList5"/>
    <dgm:cxn modelId="{6D9D5740-A78E-432A-A19B-79A7629DFBD0}" srcId="{F1A8E0FB-6830-44B9-AD5D-2C6541803F4D}" destId="{8A560357-68DD-41D8-841B-C94F1FF7F8C1}" srcOrd="2" destOrd="0" parTransId="{3BC3B257-E716-47FF-9C4E-A1CCC502A26F}" sibTransId="{0F75D6C4-A5C5-4C0B-A3E7-E1F9127F0B24}"/>
    <dgm:cxn modelId="{991DC740-DAA8-4D0F-9BAB-A0D216E7CC9C}" srcId="{A6842990-62A4-4545-B120-1F8AF25A0D6E}" destId="{31989D70-38F8-40B4-A5B4-5B64244B04DB}" srcOrd="3" destOrd="0" parTransId="{E572721F-5C44-451C-B622-59B69949FB6F}" sibTransId="{FF3730C5-5E1C-4ACF-986C-1F8BDC2A87DC}"/>
    <dgm:cxn modelId="{0652195D-79AA-41CB-A507-64DF25821FDC}" srcId="{75DF6D0E-EF2D-4899-8D56-11F561E3DB25}" destId="{0EBDD81E-61F5-4638-8D23-E64C5784A7CF}" srcOrd="0" destOrd="0" parTransId="{5BB68B6B-2470-4B4F-B825-03319C46AB79}" sibTransId="{91158606-88ED-478A-99A3-FF66895B49FF}"/>
    <dgm:cxn modelId="{F6DB5C63-69FA-4FC9-BB9C-7D6AEF8B14EB}" type="presOf" srcId="{EFB0480E-A451-4750-9076-B8DA17ACD683}" destId="{EF322D6C-1CB6-431F-8B42-A64D898D2824}" srcOrd="0" destOrd="1" presId="urn:microsoft.com/office/officeart/2005/8/layout/vList5"/>
    <dgm:cxn modelId="{9197056C-C44F-4A04-AEB6-8E23C28CFBCA}" type="presOf" srcId="{D66E06A0-8A7E-4EC6-8113-DDE9A8B91FA6}" destId="{D8CBC06D-2193-488F-8EDE-5FAA991E0B6B}" srcOrd="0" destOrd="0" presId="urn:microsoft.com/office/officeart/2005/8/layout/vList5"/>
    <dgm:cxn modelId="{66A8234E-E4C2-45FA-965B-ECB6FD1A9659}" type="presOf" srcId="{0EBDD81E-61F5-4638-8D23-E64C5784A7CF}" destId="{E36319A3-4DDD-4596-A48B-3AFC2FB82E08}" srcOrd="0" destOrd="0" presId="urn:microsoft.com/office/officeart/2005/8/layout/vList5"/>
    <dgm:cxn modelId="{F0686254-8BC6-438F-8EFC-387D3C1B4582}" srcId="{D66E06A0-8A7E-4EC6-8113-DDE9A8B91FA6}" destId="{EFB0480E-A451-4750-9076-B8DA17ACD683}" srcOrd="1" destOrd="0" parTransId="{02255FE4-1BB8-44C8-8FC3-2DB4276D8435}" sibTransId="{7ECF0E78-DA31-4B08-B8BA-D36DB4135973}"/>
    <dgm:cxn modelId="{78B26055-4003-4B61-B1A2-86AC6919F907}" type="presOf" srcId="{22DA92B9-9C40-4A25-8285-966799791BE7}" destId="{E36319A3-4DDD-4596-A48B-3AFC2FB82E08}" srcOrd="0" destOrd="2" presId="urn:microsoft.com/office/officeart/2005/8/layout/vList5"/>
    <dgm:cxn modelId="{F9E74B76-F3C8-474B-BE2E-672A4119380A}" srcId="{31989D70-38F8-40B4-A5B4-5B64244B04DB}" destId="{07E81225-DE19-4D3E-99CD-FC123A33837F}" srcOrd="0" destOrd="0" parTransId="{642D5DAC-991D-456E-978D-DDF8870668E2}" sibTransId="{71EEF2D0-2FC1-4663-8EEF-F8400FED6EFD}"/>
    <dgm:cxn modelId="{DA864F5A-43C0-4EAB-ACD8-C653DCDBC285}" srcId="{A6842990-62A4-4545-B120-1F8AF25A0D6E}" destId="{F1A8E0FB-6830-44B9-AD5D-2C6541803F4D}" srcOrd="1" destOrd="0" parTransId="{BA9882FF-0D62-440B-AE35-07B5440B7352}" sibTransId="{BE3BCC92-A824-45B0-AD74-589AA75A91ED}"/>
    <dgm:cxn modelId="{2178D97F-3CAA-4CEB-BCA2-825BD11AB20F}" type="presOf" srcId="{FFA8810D-171E-4ADC-9CA8-AD57E9D504B9}" destId="{B35FD520-5FF0-41BD-887C-8B0911FFCB12}" srcOrd="0" destOrd="1" presId="urn:microsoft.com/office/officeart/2005/8/layout/vList5"/>
    <dgm:cxn modelId="{60DB5F81-807B-4DAD-8ED9-6DCE2A60111F}" type="presOf" srcId="{8589F281-C004-49C2-9A17-144391E503DE}" destId="{43C6ABD0-F64A-458E-8A26-0D837897DC64}" srcOrd="0" destOrd="0" presId="urn:microsoft.com/office/officeart/2005/8/layout/vList5"/>
    <dgm:cxn modelId="{A7498686-3363-4727-9125-3753C7FB4287}" type="presOf" srcId="{A6842990-62A4-4545-B120-1F8AF25A0D6E}" destId="{C5ED45AB-5708-4618-8F2A-585D84BC9EAD}" srcOrd="0" destOrd="0" presId="urn:microsoft.com/office/officeart/2005/8/layout/vList5"/>
    <dgm:cxn modelId="{220E0694-B595-46BE-BDB9-2B1763BF7F42}" srcId="{0FF8BA2A-500B-413D-8B7A-0FD72A53075A}" destId="{7C9DA717-4609-4F35-9627-FBCE587B2E07}" srcOrd="1" destOrd="0" parTransId="{E5D39B11-6038-4BAB-A377-66C89B23A4FE}" sibTransId="{C70C4ADA-4F3B-4BCA-9873-A32F1BD4BEED}"/>
    <dgm:cxn modelId="{DB01149F-013B-4AAC-83B8-EA5A02812FB1}" srcId="{F1A8E0FB-6830-44B9-AD5D-2C6541803F4D}" destId="{6DCAF490-84DF-45AB-95F8-850141BC8BDF}" srcOrd="0" destOrd="0" parTransId="{313354FE-947E-4C91-850E-55158EB5406E}" sibTransId="{263CB43B-A0A5-48BB-9C20-6635267C3C22}"/>
    <dgm:cxn modelId="{BEEC91A6-BF3F-4E21-859A-6D47ACAB8869}" srcId="{A6842990-62A4-4545-B120-1F8AF25A0D6E}" destId="{D66E06A0-8A7E-4EC6-8113-DDE9A8B91FA6}" srcOrd="2" destOrd="0" parTransId="{C867E6D7-68AF-43C6-9E80-BCCDD787550D}" sibTransId="{4B0A02DB-F299-4AF6-A72B-B326FF7FE0BF}"/>
    <dgm:cxn modelId="{1FC3DAAC-2674-4AC0-A681-6AC6E1E041FE}" type="presOf" srcId="{07E81225-DE19-4D3E-99CD-FC123A33837F}" destId="{DE1FE771-1582-4775-9E8F-B758D933162D}" srcOrd="0" destOrd="0" presId="urn:microsoft.com/office/officeart/2005/8/layout/vList5"/>
    <dgm:cxn modelId="{E0CB53AF-1846-4839-A817-1BC95F8C73F9}" srcId="{F1A8E0FB-6830-44B9-AD5D-2C6541803F4D}" destId="{FFA8810D-171E-4ADC-9CA8-AD57E9D504B9}" srcOrd="1" destOrd="0" parTransId="{5D65951A-CE03-4794-9B2D-0A910A6F7FFB}" sibTransId="{39C8D19E-6ADE-404A-843B-5F7020E72704}"/>
    <dgm:cxn modelId="{657DF6AF-D666-4D2C-A115-75BA748559C6}" type="presOf" srcId="{8A560357-68DD-41D8-841B-C94F1FF7F8C1}" destId="{B35FD520-5FF0-41BD-887C-8B0911FFCB12}" srcOrd="0" destOrd="2" presId="urn:microsoft.com/office/officeart/2005/8/layout/vList5"/>
    <dgm:cxn modelId="{9D250ACB-3782-4169-9513-D5939A72E14C}" srcId="{75DF6D0E-EF2D-4899-8D56-11F561E3DB25}" destId="{051E23BA-27D6-402B-8FD0-643279078F48}" srcOrd="1" destOrd="0" parTransId="{DA361144-F3E9-4156-9CC2-FE98E458196C}" sibTransId="{AE55AD9A-A016-48D5-8B34-AF4339F64545}"/>
    <dgm:cxn modelId="{ACACF1CD-A9C0-4633-8495-72FF45057E3A}" type="presOf" srcId="{7C9DA717-4609-4F35-9627-FBCE587B2E07}" destId="{43C6ABD0-F64A-458E-8A26-0D837897DC64}" srcOrd="0" destOrd="1" presId="urn:microsoft.com/office/officeart/2005/8/layout/vList5"/>
    <dgm:cxn modelId="{FC9795E3-DBDF-499A-B2B6-4B8E6CA578BE}" type="presOf" srcId="{E08D914F-4215-41A4-8173-F3CBF316F76B}" destId="{EF322D6C-1CB6-431F-8B42-A64D898D2824}" srcOrd="0" destOrd="0" presId="urn:microsoft.com/office/officeart/2005/8/layout/vList5"/>
    <dgm:cxn modelId="{B844C6F1-2818-4F3A-97BB-A513A7A6487D}" srcId="{0FF8BA2A-500B-413D-8B7A-0FD72A53075A}" destId="{8589F281-C004-49C2-9A17-144391E503DE}" srcOrd="0" destOrd="0" parTransId="{68ACA663-A4B5-4322-A79B-E6FDA765E412}" sibTransId="{C3FF912E-6EAA-40C0-8E91-AAAED8175040}"/>
    <dgm:cxn modelId="{A345E6FB-E582-491A-BAAE-F2A1141E8D26}" type="presOf" srcId="{0FF8BA2A-500B-413D-8B7A-0FD72A53075A}" destId="{FCE31E78-3DAC-4692-A464-D0C835B3F5C0}" srcOrd="0" destOrd="0" presId="urn:microsoft.com/office/officeart/2005/8/layout/vList5"/>
    <dgm:cxn modelId="{DDE004FE-29B7-4A52-86FC-2EB3E9848396}" type="presOf" srcId="{31989D70-38F8-40B4-A5B4-5B64244B04DB}" destId="{C971C0CD-D6D6-4BD2-B517-483DD2B85EA0}" srcOrd="0" destOrd="0" presId="urn:microsoft.com/office/officeart/2005/8/layout/vList5"/>
    <dgm:cxn modelId="{9324FDFF-96EF-4D6F-B059-8A767EA02701}" type="presOf" srcId="{051E23BA-27D6-402B-8FD0-643279078F48}" destId="{E36319A3-4DDD-4596-A48B-3AFC2FB82E08}" srcOrd="0" destOrd="1" presId="urn:microsoft.com/office/officeart/2005/8/layout/vList5"/>
    <dgm:cxn modelId="{2F1976CB-BC7D-4DA6-86B6-A03B32E37FD5}" type="presParOf" srcId="{C5ED45AB-5708-4618-8F2A-585D84BC9EAD}" destId="{210816C1-7BD4-4E1F-9BAF-45430065939E}" srcOrd="0" destOrd="0" presId="urn:microsoft.com/office/officeart/2005/8/layout/vList5"/>
    <dgm:cxn modelId="{E698788D-62E0-4A5C-AADF-1FCEDABB06F8}" type="presParOf" srcId="{210816C1-7BD4-4E1F-9BAF-45430065939E}" destId="{FCE31E78-3DAC-4692-A464-D0C835B3F5C0}" srcOrd="0" destOrd="0" presId="urn:microsoft.com/office/officeart/2005/8/layout/vList5"/>
    <dgm:cxn modelId="{5008CCE3-5624-4055-8ECB-E1C45F2FC429}" type="presParOf" srcId="{210816C1-7BD4-4E1F-9BAF-45430065939E}" destId="{43C6ABD0-F64A-458E-8A26-0D837897DC64}" srcOrd="1" destOrd="0" presId="urn:microsoft.com/office/officeart/2005/8/layout/vList5"/>
    <dgm:cxn modelId="{11422C3C-6E2E-430C-8EA1-30E68421B754}" type="presParOf" srcId="{C5ED45AB-5708-4618-8F2A-585D84BC9EAD}" destId="{46882EB6-A3B5-4F96-AFCB-DD20C8B79C51}" srcOrd="1" destOrd="0" presId="urn:microsoft.com/office/officeart/2005/8/layout/vList5"/>
    <dgm:cxn modelId="{C20AF965-3917-410C-9749-F7A8FAFC99DD}" type="presParOf" srcId="{C5ED45AB-5708-4618-8F2A-585D84BC9EAD}" destId="{778044F5-F603-40D5-9552-BC7E2EC9D884}" srcOrd="2" destOrd="0" presId="urn:microsoft.com/office/officeart/2005/8/layout/vList5"/>
    <dgm:cxn modelId="{297A61BB-27BA-4919-9698-81450C24751F}" type="presParOf" srcId="{778044F5-F603-40D5-9552-BC7E2EC9D884}" destId="{3E606814-09D9-4B4C-8F40-66F312978EEB}" srcOrd="0" destOrd="0" presId="urn:microsoft.com/office/officeart/2005/8/layout/vList5"/>
    <dgm:cxn modelId="{4C07501A-F090-416D-AB0E-FAE740A972E5}" type="presParOf" srcId="{778044F5-F603-40D5-9552-BC7E2EC9D884}" destId="{B35FD520-5FF0-41BD-887C-8B0911FFCB12}" srcOrd="1" destOrd="0" presId="urn:microsoft.com/office/officeart/2005/8/layout/vList5"/>
    <dgm:cxn modelId="{8FB1101D-9210-44A9-9070-01AD48AA58B2}" type="presParOf" srcId="{C5ED45AB-5708-4618-8F2A-585D84BC9EAD}" destId="{D5C5E9EF-7F27-4FF7-8CAB-C92EA47DC3D6}" srcOrd="3" destOrd="0" presId="urn:microsoft.com/office/officeart/2005/8/layout/vList5"/>
    <dgm:cxn modelId="{3D6A8236-A2B0-4615-B5D0-368B9FF88250}" type="presParOf" srcId="{C5ED45AB-5708-4618-8F2A-585D84BC9EAD}" destId="{72C8B641-2F72-485E-A0ED-A940665DEF29}" srcOrd="4" destOrd="0" presId="urn:microsoft.com/office/officeart/2005/8/layout/vList5"/>
    <dgm:cxn modelId="{D1C48279-0AF9-4596-BAEC-49E72111F6C4}" type="presParOf" srcId="{72C8B641-2F72-485E-A0ED-A940665DEF29}" destId="{D8CBC06D-2193-488F-8EDE-5FAA991E0B6B}" srcOrd="0" destOrd="0" presId="urn:microsoft.com/office/officeart/2005/8/layout/vList5"/>
    <dgm:cxn modelId="{0BC32397-2FB7-49D2-BC25-A542222DD313}" type="presParOf" srcId="{72C8B641-2F72-485E-A0ED-A940665DEF29}" destId="{EF322D6C-1CB6-431F-8B42-A64D898D2824}" srcOrd="1" destOrd="0" presId="urn:microsoft.com/office/officeart/2005/8/layout/vList5"/>
    <dgm:cxn modelId="{8C1C9115-6119-4576-BFE8-B6AA6C6D8DCC}" type="presParOf" srcId="{C5ED45AB-5708-4618-8F2A-585D84BC9EAD}" destId="{5D027A10-F74F-4727-9E3F-6EEA93EE4288}" srcOrd="5" destOrd="0" presId="urn:microsoft.com/office/officeart/2005/8/layout/vList5"/>
    <dgm:cxn modelId="{E8B60839-2D0A-46FD-B7B3-CB0534CAD332}" type="presParOf" srcId="{C5ED45AB-5708-4618-8F2A-585D84BC9EAD}" destId="{6D857F1D-1E3D-4FB8-9D34-97C6D4E649D1}" srcOrd="6" destOrd="0" presId="urn:microsoft.com/office/officeart/2005/8/layout/vList5"/>
    <dgm:cxn modelId="{F1C38C85-3FE2-4B55-8A20-DCB544325FBA}" type="presParOf" srcId="{6D857F1D-1E3D-4FB8-9D34-97C6D4E649D1}" destId="{C971C0CD-D6D6-4BD2-B517-483DD2B85EA0}" srcOrd="0" destOrd="0" presId="urn:microsoft.com/office/officeart/2005/8/layout/vList5"/>
    <dgm:cxn modelId="{FB5FBDE6-A25F-4FE7-92F0-F85C5D5107B8}" type="presParOf" srcId="{6D857F1D-1E3D-4FB8-9D34-97C6D4E649D1}" destId="{DE1FE771-1582-4775-9E8F-B758D933162D}" srcOrd="1" destOrd="0" presId="urn:microsoft.com/office/officeart/2005/8/layout/vList5"/>
    <dgm:cxn modelId="{D8508C71-8FC4-49EA-ABAF-243697A1F1A5}" type="presParOf" srcId="{C5ED45AB-5708-4618-8F2A-585D84BC9EAD}" destId="{396899F4-452F-4C21-9308-1A185EB0D170}" srcOrd="7" destOrd="0" presId="urn:microsoft.com/office/officeart/2005/8/layout/vList5"/>
    <dgm:cxn modelId="{949A2025-D75C-40C7-B054-44555E39521A}" type="presParOf" srcId="{C5ED45AB-5708-4618-8F2A-585D84BC9EAD}" destId="{0B8CE6DB-5E88-49FA-A351-9AFC9ADFC256}" srcOrd="8" destOrd="0" presId="urn:microsoft.com/office/officeart/2005/8/layout/vList5"/>
    <dgm:cxn modelId="{EFA21BC0-9B75-4730-BB37-8235ABAC5898}" type="presParOf" srcId="{0B8CE6DB-5E88-49FA-A351-9AFC9ADFC256}" destId="{C5DBDEB5-64EF-486D-ADE8-9AD2774135B2}" srcOrd="0" destOrd="0" presId="urn:microsoft.com/office/officeart/2005/8/layout/vList5"/>
    <dgm:cxn modelId="{77F24D8C-C5D4-4F16-8F89-84338867327E}" type="presParOf" srcId="{0B8CE6DB-5E88-49FA-A351-9AFC9ADFC256}" destId="{E36319A3-4DDD-4596-A48B-3AFC2FB82E08}"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A313893-4865-4D2A-B411-A9583C447998}" type="doc">
      <dgm:prSet loTypeId="urn:diagrams.loki3.com/BracketList" loCatId="list" qsTypeId="urn:microsoft.com/office/officeart/2005/8/quickstyle/simple1" qsCatId="simple" csTypeId="urn:microsoft.com/office/officeart/2005/8/colors/accent1_1" csCatId="accent1" phldr="1"/>
      <dgm:spPr/>
      <dgm:t>
        <a:bodyPr/>
        <a:lstStyle/>
        <a:p>
          <a:endParaRPr lang="en-US"/>
        </a:p>
      </dgm:t>
    </dgm:pt>
    <dgm:pt modelId="{B7ABE164-295C-4643-A9AC-4A52A9ED0489}">
      <dgm:prSet phldrT="[Text]"/>
      <dgm:spPr/>
      <dgm:t>
        <a:bodyPr/>
        <a:lstStyle/>
        <a:p>
          <a:r>
            <a:rPr lang="en-US"/>
            <a:t>Big Data</a:t>
          </a:r>
          <a:endParaRPr lang="en-US" dirty="0"/>
        </a:p>
      </dgm:t>
    </dgm:pt>
    <dgm:pt modelId="{D7B9EDA9-31A9-4C9B-BACF-788F74E16796}" type="parTrans" cxnId="{F0748B1E-69F6-4D72-AC7C-1FCD73A7DC1C}">
      <dgm:prSet/>
      <dgm:spPr/>
      <dgm:t>
        <a:bodyPr/>
        <a:lstStyle/>
        <a:p>
          <a:endParaRPr lang="en-US">
            <a:solidFill>
              <a:schemeClr val="bg2"/>
            </a:solidFill>
          </a:endParaRPr>
        </a:p>
      </dgm:t>
    </dgm:pt>
    <dgm:pt modelId="{E258CD5B-DCF5-4FA1-918A-96BF68D81660}" type="sibTrans" cxnId="{F0748B1E-69F6-4D72-AC7C-1FCD73A7DC1C}">
      <dgm:prSet/>
      <dgm:spPr/>
      <dgm:t>
        <a:bodyPr/>
        <a:lstStyle/>
        <a:p>
          <a:endParaRPr lang="en-US">
            <a:solidFill>
              <a:schemeClr val="bg2"/>
            </a:solidFill>
          </a:endParaRPr>
        </a:p>
      </dgm:t>
    </dgm:pt>
    <dgm:pt modelId="{83035B10-5B03-4E94-B998-54AE7C044928}">
      <dgm:prSet phldrT="[Text]"/>
      <dgm:spPr/>
      <dgm:t>
        <a:bodyPr/>
        <a:lstStyle/>
        <a:p>
          <a:r>
            <a:rPr lang="en-US"/>
            <a:t>Intelligence and Advanced Analytics</a:t>
          </a:r>
          <a:endParaRPr lang="en-US" dirty="0"/>
        </a:p>
      </dgm:t>
    </dgm:pt>
    <dgm:pt modelId="{29EAADE1-28CA-4B2F-9D08-E28BE3C336C9}" type="parTrans" cxnId="{079F09CF-DCE9-434C-8F2E-1D1CEF9AE618}">
      <dgm:prSet/>
      <dgm:spPr/>
      <dgm:t>
        <a:bodyPr/>
        <a:lstStyle/>
        <a:p>
          <a:endParaRPr lang="en-US">
            <a:solidFill>
              <a:schemeClr val="bg2"/>
            </a:solidFill>
          </a:endParaRPr>
        </a:p>
      </dgm:t>
    </dgm:pt>
    <dgm:pt modelId="{CCAFAB26-9A3D-4842-B88A-B85DA7E92A54}" type="sibTrans" cxnId="{079F09CF-DCE9-434C-8F2E-1D1CEF9AE618}">
      <dgm:prSet/>
      <dgm:spPr/>
      <dgm:t>
        <a:bodyPr/>
        <a:lstStyle/>
        <a:p>
          <a:endParaRPr lang="en-US">
            <a:solidFill>
              <a:schemeClr val="bg2"/>
            </a:solidFill>
          </a:endParaRPr>
        </a:p>
      </dgm:t>
    </dgm:pt>
    <dgm:pt modelId="{AE188517-6F02-4DC7-9EA1-785FA319F063}">
      <dgm:prSet phldrT="[Text]"/>
      <dgm:spPr/>
      <dgm:t>
        <a:bodyPr/>
        <a:lstStyle/>
        <a:p>
          <a:r>
            <a:rPr lang="en-US"/>
            <a:t>Information Management</a:t>
          </a:r>
          <a:endParaRPr lang="en-US" dirty="0"/>
        </a:p>
      </dgm:t>
    </dgm:pt>
    <dgm:pt modelId="{74848A57-88CA-4171-BA55-469D8EB40C4E}" type="parTrans" cxnId="{24E599A1-6729-4099-9255-88D181B968CF}">
      <dgm:prSet/>
      <dgm:spPr/>
      <dgm:t>
        <a:bodyPr/>
        <a:lstStyle/>
        <a:p>
          <a:endParaRPr lang="en-US">
            <a:solidFill>
              <a:schemeClr val="bg2"/>
            </a:solidFill>
          </a:endParaRPr>
        </a:p>
      </dgm:t>
    </dgm:pt>
    <dgm:pt modelId="{568BD935-8EC2-4B1C-BF6A-A8560483E10B}" type="sibTrans" cxnId="{24E599A1-6729-4099-9255-88D181B968CF}">
      <dgm:prSet/>
      <dgm:spPr/>
      <dgm:t>
        <a:bodyPr/>
        <a:lstStyle/>
        <a:p>
          <a:endParaRPr lang="en-US">
            <a:solidFill>
              <a:schemeClr val="bg2"/>
            </a:solidFill>
          </a:endParaRPr>
        </a:p>
      </dgm:t>
    </dgm:pt>
    <dgm:pt modelId="{409B9CC3-4843-4F1F-8DB8-96CB6DDF3AA2}">
      <dgm:prSet phldrT="[Text]"/>
      <dgm:spPr/>
      <dgm:t>
        <a:bodyPr/>
        <a:lstStyle/>
        <a:p>
          <a:r>
            <a:rPr lang="en-US"/>
            <a:t>Solutions</a:t>
          </a:r>
          <a:endParaRPr lang="en-US" dirty="0"/>
        </a:p>
      </dgm:t>
    </dgm:pt>
    <dgm:pt modelId="{77CCCA81-853E-493E-9B0C-4E6584C3068A}" type="parTrans" cxnId="{B3DD820B-3AA4-4A6C-9F64-C25D87901740}">
      <dgm:prSet/>
      <dgm:spPr/>
      <dgm:t>
        <a:bodyPr/>
        <a:lstStyle/>
        <a:p>
          <a:endParaRPr lang="en-US">
            <a:solidFill>
              <a:schemeClr val="bg2"/>
            </a:solidFill>
          </a:endParaRPr>
        </a:p>
      </dgm:t>
    </dgm:pt>
    <dgm:pt modelId="{836C109C-9A6E-440E-B4AC-6BC1096CC572}" type="sibTrans" cxnId="{B3DD820B-3AA4-4A6C-9F64-C25D87901740}">
      <dgm:prSet/>
      <dgm:spPr/>
      <dgm:t>
        <a:bodyPr/>
        <a:lstStyle/>
        <a:p>
          <a:endParaRPr lang="en-US">
            <a:solidFill>
              <a:schemeClr val="bg2"/>
            </a:solidFill>
          </a:endParaRPr>
        </a:p>
      </dgm:t>
    </dgm:pt>
    <dgm:pt modelId="{FAB16A03-BE56-456B-A536-11D2B059B184}">
      <dgm:prSet phldrT="[Text]"/>
      <dgm:spPr/>
      <dgm:t>
        <a:bodyPr/>
        <a:lstStyle/>
        <a:p>
          <a:r>
            <a:rPr lang="en-US"/>
            <a:t>Visualization</a:t>
          </a:r>
          <a:endParaRPr lang="en-US" dirty="0"/>
        </a:p>
      </dgm:t>
    </dgm:pt>
    <dgm:pt modelId="{E696F496-5F4D-42CD-9F72-E43FD3C8193B}" type="parTrans" cxnId="{71A2D341-AA26-4666-9932-B4140F5EF1FE}">
      <dgm:prSet/>
      <dgm:spPr/>
      <dgm:t>
        <a:bodyPr/>
        <a:lstStyle/>
        <a:p>
          <a:endParaRPr lang="en-US">
            <a:solidFill>
              <a:schemeClr val="bg2"/>
            </a:solidFill>
          </a:endParaRPr>
        </a:p>
      </dgm:t>
    </dgm:pt>
    <dgm:pt modelId="{F52C13CC-48BB-4B43-924B-37454BDA68A7}" type="sibTrans" cxnId="{71A2D341-AA26-4666-9932-B4140F5EF1FE}">
      <dgm:prSet/>
      <dgm:spPr/>
      <dgm:t>
        <a:bodyPr/>
        <a:lstStyle/>
        <a:p>
          <a:endParaRPr lang="en-US">
            <a:solidFill>
              <a:schemeClr val="bg2"/>
            </a:solidFill>
          </a:endParaRPr>
        </a:p>
      </dgm:t>
    </dgm:pt>
    <dgm:pt modelId="{C435CE00-F12B-4E1E-88D5-230CB3206998}">
      <dgm:prSet phldrT="[Text]"/>
      <dgm:spPr/>
      <dgm:t>
        <a:bodyPr/>
        <a:lstStyle/>
        <a:p>
          <a:r>
            <a:rPr lang="en-US" b="1" dirty="0">
              <a:solidFill>
                <a:schemeClr val="accent1">
                  <a:lumMod val="75000"/>
                </a:schemeClr>
              </a:solidFill>
            </a:rPr>
            <a:t>Data Catalog</a:t>
          </a:r>
        </a:p>
      </dgm:t>
    </dgm:pt>
    <dgm:pt modelId="{F9EB0DCC-9309-46BE-A5F1-946925EF213F}" type="parTrans" cxnId="{1CD85CE6-891A-4559-8C6A-B2B8D10777A3}">
      <dgm:prSet/>
      <dgm:spPr/>
      <dgm:t>
        <a:bodyPr/>
        <a:lstStyle/>
        <a:p>
          <a:endParaRPr lang="en-US">
            <a:solidFill>
              <a:schemeClr val="bg2"/>
            </a:solidFill>
          </a:endParaRPr>
        </a:p>
      </dgm:t>
    </dgm:pt>
    <dgm:pt modelId="{0CEF2004-E424-4306-81CF-77EC267D4144}" type="sibTrans" cxnId="{1CD85CE6-891A-4559-8C6A-B2B8D10777A3}">
      <dgm:prSet/>
      <dgm:spPr/>
      <dgm:t>
        <a:bodyPr/>
        <a:lstStyle/>
        <a:p>
          <a:endParaRPr lang="en-US">
            <a:solidFill>
              <a:schemeClr val="bg2"/>
            </a:solidFill>
          </a:endParaRPr>
        </a:p>
      </dgm:t>
    </dgm:pt>
    <dgm:pt modelId="{E0ED33B9-E057-48E4-9E71-165921651D87}">
      <dgm:prSet phldrT="[Text]"/>
      <dgm:spPr/>
      <dgm:t>
        <a:bodyPr/>
        <a:lstStyle/>
        <a:p>
          <a:r>
            <a:rPr lang="en-US" dirty="0"/>
            <a:t>Data Factory</a:t>
          </a:r>
        </a:p>
      </dgm:t>
    </dgm:pt>
    <dgm:pt modelId="{8F5638B8-B583-4EA8-8527-E5F16E143838}" type="parTrans" cxnId="{F5977DCA-FCBA-4F37-ADC2-A8184D8E3430}">
      <dgm:prSet/>
      <dgm:spPr/>
      <dgm:t>
        <a:bodyPr/>
        <a:lstStyle/>
        <a:p>
          <a:endParaRPr lang="en-US">
            <a:solidFill>
              <a:schemeClr val="bg2"/>
            </a:solidFill>
          </a:endParaRPr>
        </a:p>
      </dgm:t>
    </dgm:pt>
    <dgm:pt modelId="{51F416F3-006F-4031-AE82-2898447A66EE}" type="sibTrans" cxnId="{F5977DCA-FCBA-4F37-ADC2-A8184D8E3430}">
      <dgm:prSet/>
      <dgm:spPr/>
      <dgm:t>
        <a:bodyPr/>
        <a:lstStyle/>
        <a:p>
          <a:endParaRPr lang="en-US">
            <a:solidFill>
              <a:schemeClr val="bg2"/>
            </a:solidFill>
          </a:endParaRPr>
        </a:p>
      </dgm:t>
    </dgm:pt>
    <dgm:pt modelId="{2C858D8A-BD5E-4943-AC97-3FD818D142DE}">
      <dgm:prSet phldrT="[Text]"/>
      <dgm:spPr/>
      <dgm:t>
        <a:bodyPr/>
        <a:lstStyle/>
        <a:p>
          <a:r>
            <a:rPr lang="en-US"/>
            <a:t>Event Hubs</a:t>
          </a:r>
          <a:endParaRPr lang="en-US" dirty="0"/>
        </a:p>
      </dgm:t>
    </dgm:pt>
    <dgm:pt modelId="{7AF921C9-184C-4D38-ADA9-B898BB7C86C3}" type="parTrans" cxnId="{1388CB44-D3BD-4172-A856-4508ADCD1F7B}">
      <dgm:prSet/>
      <dgm:spPr/>
      <dgm:t>
        <a:bodyPr/>
        <a:lstStyle/>
        <a:p>
          <a:endParaRPr lang="en-US">
            <a:solidFill>
              <a:schemeClr val="bg2"/>
            </a:solidFill>
          </a:endParaRPr>
        </a:p>
      </dgm:t>
    </dgm:pt>
    <dgm:pt modelId="{FCFEDC75-2A47-4FA0-A695-73D0EBC2EB13}" type="sibTrans" cxnId="{1388CB44-D3BD-4172-A856-4508ADCD1F7B}">
      <dgm:prSet/>
      <dgm:spPr/>
      <dgm:t>
        <a:bodyPr/>
        <a:lstStyle/>
        <a:p>
          <a:endParaRPr lang="en-US">
            <a:solidFill>
              <a:schemeClr val="bg2"/>
            </a:solidFill>
          </a:endParaRPr>
        </a:p>
      </dgm:t>
    </dgm:pt>
    <dgm:pt modelId="{F29C4E01-C09B-438C-9113-B6E9FF5DFD38}">
      <dgm:prSet phldrT="[Text]"/>
      <dgm:spPr/>
      <dgm:t>
        <a:bodyPr/>
        <a:lstStyle/>
        <a:p>
          <a:r>
            <a:rPr lang="en-US"/>
            <a:t>Data Lake</a:t>
          </a:r>
          <a:endParaRPr lang="en-US" dirty="0"/>
        </a:p>
      </dgm:t>
    </dgm:pt>
    <dgm:pt modelId="{2AE4FD27-8C8C-45AE-955D-C6687931D935}" type="parTrans" cxnId="{6621DB28-19D2-4317-A7D4-C1E229BDD2C3}">
      <dgm:prSet/>
      <dgm:spPr/>
      <dgm:t>
        <a:bodyPr/>
        <a:lstStyle/>
        <a:p>
          <a:endParaRPr lang="en-US">
            <a:solidFill>
              <a:schemeClr val="bg2"/>
            </a:solidFill>
          </a:endParaRPr>
        </a:p>
      </dgm:t>
    </dgm:pt>
    <dgm:pt modelId="{04836762-099A-4108-A61E-F6DA35680CF1}" type="sibTrans" cxnId="{6621DB28-19D2-4317-A7D4-C1E229BDD2C3}">
      <dgm:prSet/>
      <dgm:spPr/>
      <dgm:t>
        <a:bodyPr/>
        <a:lstStyle/>
        <a:p>
          <a:endParaRPr lang="en-US">
            <a:solidFill>
              <a:schemeClr val="bg2"/>
            </a:solidFill>
          </a:endParaRPr>
        </a:p>
      </dgm:t>
    </dgm:pt>
    <dgm:pt modelId="{E676A21A-338A-453B-AAD8-AE1E2984352F}">
      <dgm:prSet phldrT="[Text]"/>
      <dgm:spPr/>
      <dgm:t>
        <a:bodyPr/>
        <a:lstStyle/>
        <a:p>
          <a:r>
            <a:rPr lang="en-US"/>
            <a:t>SQL Data Warehouse</a:t>
          </a:r>
          <a:endParaRPr lang="en-US" dirty="0"/>
        </a:p>
      </dgm:t>
    </dgm:pt>
    <dgm:pt modelId="{5E57A9C1-04A6-49D4-AC5A-3AAB86452FC4}" type="parTrans" cxnId="{2693BB9E-F2CD-4F85-AA3F-0D8505E9CD15}">
      <dgm:prSet/>
      <dgm:spPr/>
      <dgm:t>
        <a:bodyPr/>
        <a:lstStyle/>
        <a:p>
          <a:endParaRPr lang="en-US">
            <a:solidFill>
              <a:schemeClr val="bg2"/>
            </a:solidFill>
          </a:endParaRPr>
        </a:p>
      </dgm:t>
    </dgm:pt>
    <dgm:pt modelId="{5A93F642-2A8F-4AA8-91EA-8C5E73BCE0E6}" type="sibTrans" cxnId="{2693BB9E-F2CD-4F85-AA3F-0D8505E9CD15}">
      <dgm:prSet/>
      <dgm:spPr/>
      <dgm:t>
        <a:bodyPr/>
        <a:lstStyle/>
        <a:p>
          <a:endParaRPr lang="en-US">
            <a:solidFill>
              <a:schemeClr val="bg2"/>
            </a:solidFill>
          </a:endParaRPr>
        </a:p>
      </dgm:t>
    </dgm:pt>
    <dgm:pt modelId="{5C0E0F60-874D-4767-AE2F-74FB881F036A}">
      <dgm:prSet phldrT="[Text]"/>
      <dgm:spPr/>
      <dgm:t>
        <a:bodyPr/>
        <a:lstStyle/>
        <a:p>
          <a:r>
            <a:rPr lang="en-US"/>
            <a:t>Cosmos DB</a:t>
          </a:r>
          <a:endParaRPr lang="en-US" dirty="0"/>
        </a:p>
      </dgm:t>
    </dgm:pt>
    <dgm:pt modelId="{F7E90F27-6C0A-42E0-AF46-1B02D03EFEE8}" type="parTrans" cxnId="{90332A73-B2D0-48BB-8BEC-2F446E08968F}">
      <dgm:prSet/>
      <dgm:spPr/>
      <dgm:t>
        <a:bodyPr/>
        <a:lstStyle/>
        <a:p>
          <a:endParaRPr lang="en-US">
            <a:solidFill>
              <a:schemeClr val="bg2"/>
            </a:solidFill>
          </a:endParaRPr>
        </a:p>
      </dgm:t>
    </dgm:pt>
    <dgm:pt modelId="{4382FA18-74BA-4683-8DEF-EA290B0298B3}" type="sibTrans" cxnId="{90332A73-B2D0-48BB-8BEC-2F446E08968F}">
      <dgm:prSet/>
      <dgm:spPr/>
      <dgm:t>
        <a:bodyPr/>
        <a:lstStyle/>
        <a:p>
          <a:endParaRPr lang="en-US">
            <a:solidFill>
              <a:schemeClr val="bg2"/>
            </a:solidFill>
          </a:endParaRPr>
        </a:p>
      </dgm:t>
    </dgm:pt>
    <dgm:pt modelId="{50C37763-24F8-4AA8-A32B-9F9CA6D119D6}">
      <dgm:prSet phldrT="[Text]"/>
      <dgm:spPr/>
      <dgm:t>
        <a:bodyPr/>
        <a:lstStyle/>
        <a:p>
          <a:r>
            <a:rPr lang="en-US" dirty="0"/>
            <a:t>Cortana, Bot Service, Cognitive Framework</a:t>
          </a:r>
        </a:p>
      </dgm:t>
    </dgm:pt>
    <dgm:pt modelId="{F0D5E2E7-679F-4720-9577-5CD05DCDE746}" type="parTrans" cxnId="{147B58C2-DB15-4ED7-BAAA-B08374A5C799}">
      <dgm:prSet/>
      <dgm:spPr/>
      <dgm:t>
        <a:bodyPr/>
        <a:lstStyle/>
        <a:p>
          <a:endParaRPr lang="en-US">
            <a:solidFill>
              <a:schemeClr val="bg2"/>
            </a:solidFill>
          </a:endParaRPr>
        </a:p>
      </dgm:t>
    </dgm:pt>
    <dgm:pt modelId="{49958AA6-4ED7-42C4-90F9-E8289337C9E3}" type="sibTrans" cxnId="{147B58C2-DB15-4ED7-BAAA-B08374A5C799}">
      <dgm:prSet/>
      <dgm:spPr/>
      <dgm:t>
        <a:bodyPr/>
        <a:lstStyle/>
        <a:p>
          <a:endParaRPr lang="en-US">
            <a:solidFill>
              <a:schemeClr val="bg2"/>
            </a:solidFill>
          </a:endParaRPr>
        </a:p>
      </dgm:t>
    </dgm:pt>
    <dgm:pt modelId="{32CACD8F-92CC-4EB0-82A5-ED325E9C0DCF}">
      <dgm:prSet phldrT="[Text]"/>
      <dgm:spPr/>
      <dgm:t>
        <a:bodyPr/>
        <a:lstStyle/>
        <a:p>
          <a:r>
            <a:rPr lang="en-US" dirty="0"/>
            <a:t>HDInsight</a:t>
          </a:r>
        </a:p>
      </dgm:t>
    </dgm:pt>
    <dgm:pt modelId="{A21F767D-FDA7-4106-99A9-F43109D327CE}" type="parTrans" cxnId="{0376D2BA-EE8B-4769-BC24-CC367BEE684B}">
      <dgm:prSet/>
      <dgm:spPr/>
      <dgm:t>
        <a:bodyPr/>
        <a:lstStyle/>
        <a:p>
          <a:endParaRPr lang="en-US">
            <a:solidFill>
              <a:schemeClr val="bg2"/>
            </a:solidFill>
          </a:endParaRPr>
        </a:p>
      </dgm:t>
    </dgm:pt>
    <dgm:pt modelId="{D9DF8C18-8AD5-4792-BADC-2960152A17B4}" type="sibTrans" cxnId="{0376D2BA-EE8B-4769-BC24-CC367BEE684B}">
      <dgm:prSet/>
      <dgm:spPr/>
      <dgm:t>
        <a:bodyPr/>
        <a:lstStyle/>
        <a:p>
          <a:endParaRPr lang="en-US">
            <a:solidFill>
              <a:schemeClr val="bg2"/>
            </a:solidFill>
          </a:endParaRPr>
        </a:p>
      </dgm:t>
    </dgm:pt>
    <dgm:pt modelId="{BDACD0F7-6180-4057-9453-3688A341F990}">
      <dgm:prSet phldrT="[Text]"/>
      <dgm:spPr/>
      <dgm:t>
        <a:bodyPr/>
        <a:lstStyle/>
        <a:p>
          <a:r>
            <a:rPr lang="en-US" dirty="0"/>
            <a:t>Data Lake</a:t>
          </a:r>
        </a:p>
      </dgm:t>
    </dgm:pt>
    <dgm:pt modelId="{E4F3B442-D426-4A43-9F5D-27BAB10F10CE}" type="parTrans" cxnId="{CBA447E9-10A8-4CB5-B5CE-0C5A8673E48E}">
      <dgm:prSet/>
      <dgm:spPr/>
      <dgm:t>
        <a:bodyPr/>
        <a:lstStyle/>
        <a:p>
          <a:endParaRPr lang="en-US">
            <a:solidFill>
              <a:schemeClr val="bg2"/>
            </a:solidFill>
          </a:endParaRPr>
        </a:p>
      </dgm:t>
    </dgm:pt>
    <dgm:pt modelId="{08AD188E-871E-4AED-AB11-9BCCFB042448}" type="sibTrans" cxnId="{CBA447E9-10A8-4CB5-B5CE-0C5A8673E48E}">
      <dgm:prSet/>
      <dgm:spPr/>
      <dgm:t>
        <a:bodyPr/>
        <a:lstStyle/>
        <a:p>
          <a:endParaRPr lang="en-US">
            <a:solidFill>
              <a:schemeClr val="bg2"/>
            </a:solidFill>
          </a:endParaRPr>
        </a:p>
      </dgm:t>
    </dgm:pt>
    <dgm:pt modelId="{AE3639C6-8C43-4F97-BE23-F9306E299CF9}">
      <dgm:prSet phldrT="[Text]"/>
      <dgm:spPr/>
      <dgm:t>
        <a:bodyPr/>
        <a:lstStyle/>
        <a:p>
          <a:r>
            <a:rPr lang="en-US"/>
            <a:t>Azure Storage</a:t>
          </a:r>
          <a:endParaRPr lang="en-US" dirty="0"/>
        </a:p>
      </dgm:t>
    </dgm:pt>
    <dgm:pt modelId="{1CDD6596-67E1-4C59-93B1-01CBD19A6B8E}" type="parTrans" cxnId="{FC23BA64-5B04-4EF8-9326-D5B528E0ACB8}">
      <dgm:prSet/>
      <dgm:spPr/>
      <dgm:t>
        <a:bodyPr/>
        <a:lstStyle/>
        <a:p>
          <a:endParaRPr lang="en-US">
            <a:solidFill>
              <a:schemeClr val="bg2"/>
            </a:solidFill>
          </a:endParaRPr>
        </a:p>
      </dgm:t>
    </dgm:pt>
    <dgm:pt modelId="{B586966D-EDF9-4827-9CA3-63AB3D2E71A7}" type="sibTrans" cxnId="{FC23BA64-5B04-4EF8-9326-D5B528E0ACB8}">
      <dgm:prSet/>
      <dgm:spPr/>
      <dgm:t>
        <a:bodyPr/>
        <a:lstStyle/>
        <a:p>
          <a:endParaRPr lang="en-US">
            <a:solidFill>
              <a:schemeClr val="bg2"/>
            </a:solidFill>
          </a:endParaRPr>
        </a:p>
      </dgm:t>
    </dgm:pt>
    <dgm:pt modelId="{35F0567E-236D-4971-8C0A-709AAD1BC349}">
      <dgm:prSet phldrT="[Text]"/>
      <dgm:spPr/>
      <dgm:t>
        <a:bodyPr/>
        <a:lstStyle/>
        <a:p>
          <a:r>
            <a:rPr lang="en-US"/>
            <a:t>Stream Analytics</a:t>
          </a:r>
          <a:endParaRPr lang="en-US" dirty="0"/>
        </a:p>
      </dgm:t>
    </dgm:pt>
    <dgm:pt modelId="{7F62CFBA-4322-4F9F-BCFE-83C4491AC94C}" type="parTrans" cxnId="{096FE25D-ED43-48A2-ACA8-20A40F77FC31}">
      <dgm:prSet/>
      <dgm:spPr/>
      <dgm:t>
        <a:bodyPr/>
        <a:lstStyle/>
        <a:p>
          <a:endParaRPr lang="en-US">
            <a:solidFill>
              <a:schemeClr val="bg2"/>
            </a:solidFill>
          </a:endParaRPr>
        </a:p>
      </dgm:t>
    </dgm:pt>
    <dgm:pt modelId="{F8351DC9-FCD8-42B5-94E0-1FB511B25936}" type="sibTrans" cxnId="{096FE25D-ED43-48A2-ACA8-20A40F77FC31}">
      <dgm:prSet/>
      <dgm:spPr/>
      <dgm:t>
        <a:bodyPr/>
        <a:lstStyle/>
        <a:p>
          <a:endParaRPr lang="en-US">
            <a:solidFill>
              <a:schemeClr val="bg2"/>
            </a:solidFill>
          </a:endParaRPr>
        </a:p>
      </dgm:t>
    </dgm:pt>
    <dgm:pt modelId="{F2465E65-C3E0-423D-B60A-CBBB12166DD6}">
      <dgm:prSet phldrT="[Text]"/>
      <dgm:spPr/>
      <dgm:t>
        <a:bodyPr/>
        <a:lstStyle/>
        <a:p>
          <a:r>
            <a:rPr lang="en-US"/>
            <a:t>Analysis Services</a:t>
          </a:r>
          <a:endParaRPr lang="en-US" dirty="0"/>
        </a:p>
      </dgm:t>
    </dgm:pt>
    <dgm:pt modelId="{D8845806-1D9D-4617-BBFA-FEA4939FF747}" type="parTrans" cxnId="{EDADB58C-AA26-476F-93FF-0704938DA538}">
      <dgm:prSet/>
      <dgm:spPr/>
      <dgm:t>
        <a:bodyPr/>
        <a:lstStyle/>
        <a:p>
          <a:endParaRPr lang="en-US">
            <a:solidFill>
              <a:schemeClr val="bg2"/>
            </a:solidFill>
          </a:endParaRPr>
        </a:p>
      </dgm:t>
    </dgm:pt>
    <dgm:pt modelId="{D6A1219B-E8CC-45FE-9E0F-99D20A856F7B}" type="sibTrans" cxnId="{EDADB58C-AA26-476F-93FF-0704938DA538}">
      <dgm:prSet/>
      <dgm:spPr/>
      <dgm:t>
        <a:bodyPr/>
        <a:lstStyle/>
        <a:p>
          <a:endParaRPr lang="en-US">
            <a:solidFill>
              <a:schemeClr val="bg2"/>
            </a:solidFill>
          </a:endParaRPr>
        </a:p>
      </dgm:t>
    </dgm:pt>
    <dgm:pt modelId="{DAB3F281-7B4F-49EC-8DF2-6797D69BDC56}">
      <dgm:prSet phldrT="[Text]" custT="1"/>
      <dgm:spPr/>
      <dgm:t>
        <a:bodyPr/>
        <a:lstStyle/>
        <a:p>
          <a:r>
            <a:rPr lang="en-US" sz="2000" kern="1200" dirty="0">
              <a:solidFill>
                <a:srgbClr val="505050">
                  <a:hueOff val="0"/>
                  <a:satOff val="0"/>
                  <a:lumOff val="0"/>
                  <a:alphaOff val="0"/>
                </a:srgbClr>
              </a:solidFill>
              <a:latin typeface="Segoe UI"/>
              <a:ea typeface="+mn-ea"/>
              <a:cs typeface="+mn-cs"/>
            </a:rPr>
            <a:t>Power BI</a:t>
          </a:r>
        </a:p>
      </dgm:t>
    </dgm:pt>
    <dgm:pt modelId="{6F984231-54E7-4CD8-B215-1F4C16DFC2F6}" type="parTrans" cxnId="{F94D4C84-D729-4065-B367-BAFC045EF498}">
      <dgm:prSet/>
      <dgm:spPr/>
      <dgm:t>
        <a:bodyPr/>
        <a:lstStyle/>
        <a:p>
          <a:endParaRPr lang="en-US">
            <a:solidFill>
              <a:schemeClr val="bg2"/>
            </a:solidFill>
          </a:endParaRPr>
        </a:p>
      </dgm:t>
    </dgm:pt>
    <dgm:pt modelId="{C69C4E7A-EC62-4329-8F2E-1F4E0F7537C2}" type="sibTrans" cxnId="{F94D4C84-D729-4065-B367-BAFC045EF498}">
      <dgm:prSet/>
      <dgm:spPr/>
      <dgm:t>
        <a:bodyPr/>
        <a:lstStyle/>
        <a:p>
          <a:endParaRPr lang="en-US">
            <a:solidFill>
              <a:schemeClr val="bg2"/>
            </a:solidFill>
          </a:endParaRPr>
        </a:p>
      </dgm:t>
    </dgm:pt>
    <dgm:pt modelId="{715ABCDD-7748-47FB-9152-0DE37D243758}">
      <dgm:prSet phldrT="[Text]" custT="1"/>
      <dgm:spPr/>
      <dgm:t>
        <a:bodyPr/>
        <a:lstStyle/>
        <a:p>
          <a:r>
            <a:rPr lang="en-US" sz="2000" kern="1200" dirty="0">
              <a:solidFill>
                <a:srgbClr val="505050">
                  <a:hueOff val="0"/>
                  <a:satOff val="0"/>
                  <a:lumOff val="0"/>
                  <a:alphaOff val="0"/>
                </a:srgbClr>
              </a:solidFill>
              <a:latin typeface="Segoe UI"/>
              <a:ea typeface="+mn-ea"/>
              <a:cs typeface="+mn-cs"/>
            </a:rPr>
            <a:t>R</a:t>
          </a:r>
        </a:p>
      </dgm:t>
    </dgm:pt>
    <dgm:pt modelId="{A4CDED56-308B-497B-BDAA-89BF5C12FE1C}" type="parTrans" cxnId="{0DFFAD90-2F9A-46A3-89E6-68A064766737}">
      <dgm:prSet/>
      <dgm:spPr/>
      <dgm:t>
        <a:bodyPr/>
        <a:lstStyle/>
        <a:p>
          <a:endParaRPr lang="en-US">
            <a:solidFill>
              <a:schemeClr val="bg2"/>
            </a:solidFill>
          </a:endParaRPr>
        </a:p>
      </dgm:t>
    </dgm:pt>
    <dgm:pt modelId="{60C13AFB-01B2-443D-B8DC-431B4AE659EC}" type="sibTrans" cxnId="{0DFFAD90-2F9A-46A3-89E6-68A064766737}">
      <dgm:prSet/>
      <dgm:spPr/>
      <dgm:t>
        <a:bodyPr/>
        <a:lstStyle/>
        <a:p>
          <a:endParaRPr lang="en-US">
            <a:solidFill>
              <a:schemeClr val="bg2"/>
            </a:solidFill>
          </a:endParaRPr>
        </a:p>
      </dgm:t>
    </dgm:pt>
    <dgm:pt modelId="{8C2B2478-3DF9-4134-955A-49E9307C40B0}">
      <dgm:prSet phldrT="[Text]" custT="1"/>
      <dgm:spPr/>
      <dgm:t>
        <a:bodyPr/>
        <a:lstStyle/>
        <a:p>
          <a:pPr marL="228600" lvl="1" indent="-228600" algn="l" defTabSz="889000">
            <a:lnSpc>
              <a:spcPct val="90000"/>
            </a:lnSpc>
            <a:spcBef>
              <a:spcPct val="0"/>
            </a:spcBef>
            <a:spcAft>
              <a:spcPct val="15000"/>
            </a:spcAft>
            <a:buChar char="•"/>
          </a:pPr>
          <a:r>
            <a:rPr lang="en-US" sz="2000" b="1" kern="1200" dirty="0">
              <a:solidFill>
                <a:srgbClr val="7FBA00">
                  <a:lumMod val="75000"/>
                </a:srgbClr>
              </a:solidFill>
              <a:latin typeface="Segoe UI"/>
              <a:ea typeface="+mn-ea"/>
              <a:cs typeface="+mn-cs"/>
            </a:rPr>
            <a:t>Templates and Gallery</a:t>
          </a:r>
        </a:p>
      </dgm:t>
    </dgm:pt>
    <dgm:pt modelId="{5B180C60-8273-4432-91C5-E4FBCD533558}" type="parTrans" cxnId="{B49A0BCF-26F9-4C92-9C5F-6F0EBA685DDD}">
      <dgm:prSet/>
      <dgm:spPr/>
      <dgm:t>
        <a:bodyPr/>
        <a:lstStyle/>
        <a:p>
          <a:endParaRPr lang="en-US">
            <a:solidFill>
              <a:schemeClr val="bg2"/>
            </a:solidFill>
          </a:endParaRPr>
        </a:p>
      </dgm:t>
    </dgm:pt>
    <dgm:pt modelId="{A7058E5A-5C03-4574-8AB8-5DCA8E545176}" type="sibTrans" cxnId="{B49A0BCF-26F9-4C92-9C5F-6F0EBA685DDD}">
      <dgm:prSet/>
      <dgm:spPr/>
      <dgm:t>
        <a:bodyPr/>
        <a:lstStyle/>
        <a:p>
          <a:endParaRPr lang="en-US">
            <a:solidFill>
              <a:schemeClr val="bg2"/>
            </a:solidFill>
          </a:endParaRPr>
        </a:p>
      </dgm:t>
    </dgm:pt>
    <dgm:pt modelId="{205502BB-E218-4F43-94ED-38D373921869}">
      <dgm:prSet phldrT="[Text]"/>
      <dgm:spPr/>
      <dgm:t>
        <a:bodyPr/>
        <a:lstStyle/>
        <a:p>
          <a:r>
            <a:rPr lang="en-US"/>
            <a:t>Machine Learning</a:t>
          </a:r>
          <a:endParaRPr lang="en-US" dirty="0"/>
        </a:p>
      </dgm:t>
    </dgm:pt>
    <dgm:pt modelId="{E43973A5-6F63-4CBC-9CA1-AA1E0C16AAF7}" type="parTrans" cxnId="{8597440F-C7F1-464F-83C3-E22D6643DA1A}">
      <dgm:prSet/>
      <dgm:spPr/>
      <dgm:t>
        <a:bodyPr/>
        <a:lstStyle/>
        <a:p>
          <a:endParaRPr lang="en-US">
            <a:solidFill>
              <a:schemeClr val="bg2"/>
            </a:solidFill>
          </a:endParaRPr>
        </a:p>
      </dgm:t>
    </dgm:pt>
    <dgm:pt modelId="{09A953C8-FBF8-4924-B96E-D12A550857DE}" type="sibTrans" cxnId="{8597440F-C7F1-464F-83C3-E22D6643DA1A}">
      <dgm:prSet/>
      <dgm:spPr/>
      <dgm:t>
        <a:bodyPr/>
        <a:lstStyle/>
        <a:p>
          <a:endParaRPr lang="en-US">
            <a:solidFill>
              <a:schemeClr val="bg2"/>
            </a:solidFill>
          </a:endParaRPr>
        </a:p>
      </dgm:t>
    </dgm:pt>
    <dgm:pt modelId="{2B91DE99-FB3D-40B9-9827-F76B61DF0C13}" type="pres">
      <dgm:prSet presAssocID="{EA313893-4865-4D2A-B411-A9583C447998}" presName="Name0" presStyleCnt="0">
        <dgm:presLayoutVars>
          <dgm:dir/>
          <dgm:animLvl val="lvl"/>
          <dgm:resizeHandles val="exact"/>
        </dgm:presLayoutVars>
      </dgm:prSet>
      <dgm:spPr/>
    </dgm:pt>
    <dgm:pt modelId="{4567989C-4FE6-49AC-A2A7-D9284F6FD9E9}" type="pres">
      <dgm:prSet presAssocID="{AE188517-6F02-4DC7-9EA1-785FA319F063}" presName="linNode" presStyleCnt="0"/>
      <dgm:spPr/>
    </dgm:pt>
    <dgm:pt modelId="{C8FB2B8E-8EB9-462C-A3BE-B343DF2940CF}" type="pres">
      <dgm:prSet presAssocID="{AE188517-6F02-4DC7-9EA1-785FA319F063}" presName="parTx" presStyleLbl="revTx" presStyleIdx="0" presStyleCnt="5">
        <dgm:presLayoutVars>
          <dgm:chMax val="1"/>
          <dgm:bulletEnabled val="1"/>
        </dgm:presLayoutVars>
      </dgm:prSet>
      <dgm:spPr/>
    </dgm:pt>
    <dgm:pt modelId="{08EC183C-AED6-4FF7-A9DF-6208AC571922}" type="pres">
      <dgm:prSet presAssocID="{AE188517-6F02-4DC7-9EA1-785FA319F063}" presName="bracket" presStyleLbl="parChTrans1D1" presStyleIdx="0" presStyleCnt="5"/>
      <dgm:spPr/>
    </dgm:pt>
    <dgm:pt modelId="{4F55B3C6-EC7F-488D-AAAC-8A7393E4380F}" type="pres">
      <dgm:prSet presAssocID="{AE188517-6F02-4DC7-9EA1-785FA319F063}" presName="spH" presStyleCnt="0"/>
      <dgm:spPr/>
    </dgm:pt>
    <dgm:pt modelId="{9175424E-612A-4B72-89CD-0EFDADCFDD1F}" type="pres">
      <dgm:prSet presAssocID="{AE188517-6F02-4DC7-9EA1-785FA319F063}" presName="desTx" presStyleLbl="node1" presStyleIdx="0" presStyleCnt="5">
        <dgm:presLayoutVars>
          <dgm:bulletEnabled val="1"/>
        </dgm:presLayoutVars>
      </dgm:prSet>
      <dgm:spPr/>
    </dgm:pt>
    <dgm:pt modelId="{CEC2B1A3-1726-4A39-94A3-4804FFB8C3F0}" type="pres">
      <dgm:prSet presAssocID="{568BD935-8EC2-4B1C-BF6A-A8560483E10B}" presName="spV" presStyleCnt="0"/>
      <dgm:spPr/>
    </dgm:pt>
    <dgm:pt modelId="{19932F73-1CAF-4C59-8BFA-57C0FED3FFE6}" type="pres">
      <dgm:prSet presAssocID="{B7ABE164-295C-4643-A9AC-4A52A9ED0489}" presName="linNode" presStyleCnt="0"/>
      <dgm:spPr/>
    </dgm:pt>
    <dgm:pt modelId="{82E9A0E0-8D14-4848-9DD2-59E0CDC0AAFD}" type="pres">
      <dgm:prSet presAssocID="{B7ABE164-295C-4643-A9AC-4A52A9ED0489}" presName="parTx" presStyleLbl="revTx" presStyleIdx="1" presStyleCnt="5">
        <dgm:presLayoutVars>
          <dgm:chMax val="1"/>
          <dgm:bulletEnabled val="1"/>
        </dgm:presLayoutVars>
      </dgm:prSet>
      <dgm:spPr/>
    </dgm:pt>
    <dgm:pt modelId="{BC4DC184-0FC8-4B22-8B26-0EC609A78835}" type="pres">
      <dgm:prSet presAssocID="{B7ABE164-295C-4643-A9AC-4A52A9ED0489}" presName="bracket" presStyleLbl="parChTrans1D1" presStyleIdx="1" presStyleCnt="5"/>
      <dgm:spPr/>
    </dgm:pt>
    <dgm:pt modelId="{FBA873B3-9422-4F35-9FBE-7724920B939D}" type="pres">
      <dgm:prSet presAssocID="{B7ABE164-295C-4643-A9AC-4A52A9ED0489}" presName="spH" presStyleCnt="0"/>
      <dgm:spPr/>
    </dgm:pt>
    <dgm:pt modelId="{86E21F88-7726-4B6A-8AA4-50C3FB4AC66D}" type="pres">
      <dgm:prSet presAssocID="{B7ABE164-295C-4643-A9AC-4A52A9ED0489}" presName="desTx" presStyleLbl="node1" presStyleIdx="1" presStyleCnt="5">
        <dgm:presLayoutVars>
          <dgm:bulletEnabled val="1"/>
        </dgm:presLayoutVars>
      </dgm:prSet>
      <dgm:spPr/>
    </dgm:pt>
    <dgm:pt modelId="{2A20A6C4-9D7F-459B-A86F-22BDE260726C}" type="pres">
      <dgm:prSet presAssocID="{E258CD5B-DCF5-4FA1-918A-96BF68D81660}" presName="spV" presStyleCnt="0"/>
      <dgm:spPr/>
    </dgm:pt>
    <dgm:pt modelId="{9B42504F-709C-4C72-B940-6AE7E3D80974}" type="pres">
      <dgm:prSet presAssocID="{83035B10-5B03-4E94-B998-54AE7C044928}" presName="linNode" presStyleCnt="0"/>
      <dgm:spPr/>
    </dgm:pt>
    <dgm:pt modelId="{06464D07-8B60-462A-8EC4-545BAA8C97B1}" type="pres">
      <dgm:prSet presAssocID="{83035B10-5B03-4E94-B998-54AE7C044928}" presName="parTx" presStyleLbl="revTx" presStyleIdx="2" presStyleCnt="5">
        <dgm:presLayoutVars>
          <dgm:chMax val="1"/>
          <dgm:bulletEnabled val="1"/>
        </dgm:presLayoutVars>
      </dgm:prSet>
      <dgm:spPr/>
    </dgm:pt>
    <dgm:pt modelId="{756D71B1-CFF2-4550-9E9D-D836CC5523C0}" type="pres">
      <dgm:prSet presAssocID="{83035B10-5B03-4E94-B998-54AE7C044928}" presName="bracket" presStyleLbl="parChTrans1D1" presStyleIdx="2" presStyleCnt="5"/>
      <dgm:spPr/>
    </dgm:pt>
    <dgm:pt modelId="{600B3877-632C-4D99-BBA2-F4B87710B1A3}" type="pres">
      <dgm:prSet presAssocID="{83035B10-5B03-4E94-B998-54AE7C044928}" presName="spH" presStyleCnt="0"/>
      <dgm:spPr/>
    </dgm:pt>
    <dgm:pt modelId="{603689CA-F9E4-44EC-B527-50FB539B823D}" type="pres">
      <dgm:prSet presAssocID="{83035B10-5B03-4E94-B998-54AE7C044928}" presName="desTx" presStyleLbl="node1" presStyleIdx="2" presStyleCnt="5">
        <dgm:presLayoutVars>
          <dgm:bulletEnabled val="1"/>
        </dgm:presLayoutVars>
      </dgm:prSet>
      <dgm:spPr/>
    </dgm:pt>
    <dgm:pt modelId="{D0322BD2-8077-405F-9EC9-F022003A48AB}" type="pres">
      <dgm:prSet presAssocID="{CCAFAB26-9A3D-4842-B88A-B85DA7E92A54}" presName="spV" presStyleCnt="0"/>
      <dgm:spPr/>
    </dgm:pt>
    <dgm:pt modelId="{CA18E8FC-FA63-43A4-99E8-B3F0AA05797A}" type="pres">
      <dgm:prSet presAssocID="{FAB16A03-BE56-456B-A536-11D2B059B184}" presName="linNode" presStyleCnt="0"/>
      <dgm:spPr/>
    </dgm:pt>
    <dgm:pt modelId="{975FEC36-CD0E-4BA1-9445-37B05FFD96CD}" type="pres">
      <dgm:prSet presAssocID="{FAB16A03-BE56-456B-A536-11D2B059B184}" presName="parTx" presStyleLbl="revTx" presStyleIdx="3" presStyleCnt="5">
        <dgm:presLayoutVars>
          <dgm:chMax val="1"/>
          <dgm:bulletEnabled val="1"/>
        </dgm:presLayoutVars>
      </dgm:prSet>
      <dgm:spPr/>
    </dgm:pt>
    <dgm:pt modelId="{719BA57B-B751-40B6-88AD-FF402F20568B}" type="pres">
      <dgm:prSet presAssocID="{FAB16A03-BE56-456B-A536-11D2B059B184}" presName="bracket" presStyleLbl="parChTrans1D1" presStyleIdx="3" presStyleCnt="5"/>
      <dgm:spPr/>
    </dgm:pt>
    <dgm:pt modelId="{9289F2B8-9F22-44F4-AE69-BDC1722E50CB}" type="pres">
      <dgm:prSet presAssocID="{FAB16A03-BE56-456B-A536-11D2B059B184}" presName="spH" presStyleCnt="0"/>
      <dgm:spPr/>
    </dgm:pt>
    <dgm:pt modelId="{F2B5D16A-6048-4E1D-9634-1D2AF0A2F256}" type="pres">
      <dgm:prSet presAssocID="{FAB16A03-BE56-456B-A536-11D2B059B184}" presName="desTx" presStyleLbl="node1" presStyleIdx="3" presStyleCnt="5">
        <dgm:presLayoutVars>
          <dgm:bulletEnabled val="1"/>
        </dgm:presLayoutVars>
      </dgm:prSet>
      <dgm:spPr/>
    </dgm:pt>
    <dgm:pt modelId="{483EAE36-B7B2-46A2-8BA1-36589AAA1D62}" type="pres">
      <dgm:prSet presAssocID="{F52C13CC-48BB-4B43-924B-37454BDA68A7}" presName="spV" presStyleCnt="0"/>
      <dgm:spPr/>
    </dgm:pt>
    <dgm:pt modelId="{02082B38-B0E7-42AB-937A-8F336CBBE0AC}" type="pres">
      <dgm:prSet presAssocID="{409B9CC3-4843-4F1F-8DB8-96CB6DDF3AA2}" presName="linNode" presStyleCnt="0"/>
      <dgm:spPr/>
    </dgm:pt>
    <dgm:pt modelId="{FD528662-2E78-46C5-AFEC-7596999AE27A}" type="pres">
      <dgm:prSet presAssocID="{409B9CC3-4843-4F1F-8DB8-96CB6DDF3AA2}" presName="parTx" presStyleLbl="revTx" presStyleIdx="4" presStyleCnt="5">
        <dgm:presLayoutVars>
          <dgm:chMax val="1"/>
          <dgm:bulletEnabled val="1"/>
        </dgm:presLayoutVars>
      </dgm:prSet>
      <dgm:spPr/>
    </dgm:pt>
    <dgm:pt modelId="{017728F1-FB8F-480D-960E-335CD7ADAB3C}" type="pres">
      <dgm:prSet presAssocID="{409B9CC3-4843-4F1F-8DB8-96CB6DDF3AA2}" presName="bracket" presStyleLbl="parChTrans1D1" presStyleIdx="4" presStyleCnt="5"/>
      <dgm:spPr/>
    </dgm:pt>
    <dgm:pt modelId="{E6DBF0EA-C16A-4AB0-8F5A-26C345274E5E}" type="pres">
      <dgm:prSet presAssocID="{409B9CC3-4843-4F1F-8DB8-96CB6DDF3AA2}" presName="spH" presStyleCnt="0"/>
      <dgm:spPr/>
    </dgm:pt>
    <dgm:pt modelId="{8201724E-AC5F-494D-BB50-B7D7A454D657}" type="pres">
      <dgm:prSet presAssocID="{409B9CC3-4843-4F1F-8DB8-96CB6DDF3AA2}" presName="desTx" presStyleLbl="node1" presStyleIdx="4" presStyleCnt="5">
        <dgm:presLayoutVars>
          <dgm:bulletEnabled val="1"/>
        </dgm:presLayoutVars>
      </dgm:prSet>
      <dgm:spPr/>
    </dgm:pt>
  </dgm:ptLst>
  <dgm:cxnLst>
    <dgm:cxn modelId="{05397C05-3613-4ED9-957F-64F627A094DF}" type="presOf" srcId="{E676A21A-338A-453B-AAD8-AE1E2984352F}" destId="{86E21F88-7726-4B6A-8AA4-50C3FB4AC66D}" srcOrd="0" destOrd="2" presId="urn:diagrams.loki3.com/BracketList"/>
    <dgm:cxn modelId="{B3DD820B-3AA4-4A6C-9F64-C25D87901740}" srcId="{EA313893-4865-4D2A-B411-A9583C447998}" destId="{409B9CC3-4843-4F1F-8DB8-96CB6DDF3AA2}" srcOrd="4" destOrd="0" parTransId="{77CCCA81-853E-493E-9B0C-4E6584C3068A}" sibTransId="{836C109C-9A6E-440E-B4AC-6BC1096CC572}"/>
    <dgm:cxn modelId="{8597440F-C7F1-464F-83C3-E22D6643DA1A}" srcId="{83035B10-5B03-4E94-B998-54AE7C044928}" destId="{205502BB-E218-4F43-94ED-38D373921869}" srcOrd="1" destOrd="0" parTransId="{E43973A5-6F63-4CBC-9CA1-AA1E0C16AAF7}" sibTransId="{09A953C8-FBF8-4924-B96E-D12A550857DE}"/>
    <dgm:cxn modelId="{6DD99C19-56AA-4709-A58E-46408FE3988F}" type="presOf" srcId="{B7ABE164-295C-4643-A9AC-4A52A9ED0489}" destId="{82E9A0E0-8D14-4848-9DD2-59E0CDC0AAFD}" srcOrd="0" destOrd="0" presId="urn:diagrams.loki3.com/BracketList"/>
    <dgm:cxn modelId="{F0748B1E-69F6-4D72-AC7C-1FCD73A7DC1C}" srcId="{EA313893-4865-4D2A-B411-A9583C447998}" destId="{B7ABE164-295C-4643-A9AC-4A52A9ED0489}" srcOrd="1" destOrd="0" parTransId="{D7B9EDA9-31A9-4C9B-BACF-788F74E16796}" sibTransId="{E258CD5B-DCF5-4FA1-918A-96BF68D81660}"/>
    <dgm:cxn modelId="{11E28022-DADB-4978-9EF7-42B3F338CC6C}" type="presOf" srcId="{AE3639C6-8C43-4F97-BE23-F9306E299CF9}" destId="{86E21F88-7726-4B6A-8AA4-50C3FB4AC66D}" srcOrd="0" destOrd="0" presId="urn:diagrams.loki3.com/BracketList"/>
    <dgm:cxn modelId="{0D5E2526-C15C-40F5-B9D1-48E2D92EC504}" type="presOf" srcId="{C435CE00-F12B-4E1E-88D5-230CB3206998}" destId="{9175424E-612A-4B72-89CD-0EFDADCFDD1F}" srcOrd="0" destOrd="0" presId="urn:diagrams.loki3.com/BracketList"/>
    <dgm:cxn modelId="{6621DB28-19D2-4317-A7D4-C1E229BDD2C3}" srcId="{B7ABE164-295C-4643-A9AC-4A52A9ED0489}" destId="{F29C4E01-C09B-438C-9113-B6E9FF5DFD38}" srcOrd="1" destOrd="0" parTransId="{2AE4FD27-8C8C-45AE-955D-C6687931D935}" sibTransId="{04836762-099A-4108-A61E-F6DA35680CF1}"/>
    <dgm:cxn modelId="{DF2F8029-1771-4247-B24D-AF2BCCBCC640}" type="presOf" srcId="{205502BB-E218-4F43-94ED-38D373921869}" destId="{603689CA-F9E4-44EC-B527-50FB539B823D}" srcOrd="0" destOrd="1" presId="urn:diagrams.loki3.com/BracketList"/>
    <dgm:cxn modelId="{6F44A232-4FBE-4A74-8103-CA7CA054FD2C}" type="presOf" srcId="{DAB3F281-7B4F-49EC-8DF2-6797D69BDC56}" destId="{F2B5D16A-6048-4E1D-9634-1D2AF0A2F256}" srcOrd="0" destOrd="0" presId="urn:diagrams.loki3.com/BracketList"/>
    <dgm:cxn modelId="{73CC5835-AA42-457E-A12B-17481BEF9838}" type="presOf" srcId="{2C858D8A-BD5E-4943-AC97-3FD818D142DE}" destId="{9175424E-612A-4B72-89CD-0EFDADCFDD1F}" srcOrd="0" destOrd="2" presId="urn:diagrams.loki3.com/BracketList"/>
    <dgm:cxn modelId="{01514636-B3E4-40B9-BA91-B1B09337B347}" type="presOf" srcId="{F29C4E01-C09B-438C-9113-B6E9FF5DFD38}" destId="{86E21F88-7726-4B6A-8AA4-50C3FB4AC66D}" srcOrd="0" destOrd="1" presId="urn:diagrams.loki3.com/BracketList"/>
    <dgm:cxn modelId="{096FE25D-ED43-48A2-ACA8-20A40F77FC31}" srcId="{83035B10-5B03-4E94-B998-54AE7C044928}" destId="{35F0567E-236D-4971-8C0A-709AAD1BC349}" srcOrd="4" destOrd="0" parTransId="{7F62CFBA-4322-4F9F-BCFE-83C4491AC94C}" sibTransId="{F8351DC9-FCD8-42B5-94E0-1FB511B25936}"/>
    <dgm:cxn modelId="{6DDA035E-790C-4A1F-AE26-24F19A00AF4A}" type="presOf" srcId="{50C37763-24F8-4AA8-A32B-9F9CA6D119D6}" destId="{603689CA-F9E4-44EC-B527-50FB539B823D}" srcOrd="0" destOrd="0" presId="urn:diagrams.loki3.com/BracketList"/>
    <dgm:cxn modelId="{04460660-F378-459A-9A2B-E3E0592F3242}" type="presOf" srcId="{5C0E0F60-874D-4767-AE2F-74FB881F036A}" destId="{86E21F88-7726-4B6A-8AA4-50C3FB4AC66D}" srcOrd="0" destOrd="3" presId="urn:diagrams.loki3.com/BracketList"/>
    <dgm:cxn modelId="{71A2D341-AA26-4666-9932-B4140F5EF1FE}" srcId="{EA313893-4865-4D2A-B411-A9583C447998}" destId="{FAB16A03-BE56-456B-A536-11D2B059B184}" srcOrd="3" destOrd="0" parTransId="{E696F496-5F4D-42CD-9F72-E43FD3C8193B}" sibTransId="{F52C13CC-48BB-4B43-924B-37454BDA68A7}"/>
    <dgm:cxn modelId="{E415D443-6379-4CD8-AB97-3FE6FD0F4592}" type="presOf" srcId="{715ABCDD-7748-47FB-9152-0DE37D243758}" destId="{F2B5D16A-6048-4E1D-9634-1D2AF0A2F256}" srcOrd="0" destOrd="1" presId="urn:diagrams.loki3.com/BracketList"/>
    <dgm:cxn modelId="{FC23BA64-5B04-4EF8-9326-D5B528E0ACB8}" srcId="{B7ABE164-295C-4643-A9AC-4A52A9ED0489}" destId="{AE3639C6-8C43-4F97-BE23-F9306E299CF9}" srcOrd="0" destOrd="0" parTransId="{1CDD6596-67E1-4C59-93B1-01CBD19A6B8E}" sibTransId="{B586966D-EDF9-4827-9CA3-63AB3D2E71A7}"/>
    <dgm:cxn modelId="{1388CB44-D3BD-4172-A856-4508ADCD1F7B}" srcId="{AE188517-6F02-4DC7-9EA1-785FA319F063}" destId="{2C858D8A-BD5E-4943-AC97-3FD818D142DE}" srcOrd="2" destOrd="0" parTransId="{7AF921C9-184C-4D38-ADA9-B898BB7C86C3}" sibTransId="{FCFEDC75-2A47-4FA0-A695-73D0EBC2EB13}"/>
    <dgm:cxn modelId="{34C39845-C590-493A-877C-951628E8E8F0}" type="presOf" srcId="{83035B10-5B03-4E94-B998-54AE7C044928}" destId="{06464D07-8B60-462A-8EC4-545BAA8C97B1}" srcOrd="0" destOrd="0" presId="urn:diagrams.loki3.com/BracketList"/>
    <dgm:cxn modelId="{726A266A-96C5-42ED-93FB-3116EF24E56C}" type="presOf" srcId="{FAB16A03-BE56-456B-A536-11D2B059B184}" destId="{975FEC36-CD0E-4BA1-9445-37B05FFD96CD}" srcOrd="0" destOrd="0" presId="urn:diagrams.loki3.com/BracketList"/>
    <dgm:cxn modelId="{90332A73-B2D0-48BB-8BEC-2F446E08968F}" srcId="{B7ABE164-295C-4643-A9AC-4A52A9ED0489}" destId="{5C0E0F60-874D-4767-AE2F-74FB881F036A}" srcOrd="3" destOrd="0" parTransId="{F7E90F27-6C0A-42E0-AF46-1B02D03EFEE8}" sibTransId="{4382FA18-74BA-4683-8DEF-EA290B0298B3}"/>
    <dgm:cxn modelId="{A1274A7F-CF88-49BE-AD7B-B72D81B5E439}" type="presOf" srcId="{35F0567E-236D-4971-8C0A-709AAD1BC349}" destId="{603689CA-F9E4-44EC-B527-50FB539B823D}" srcOrd="0" destOrd="4" presId="urn:diagrams.loki3.com/BracketList"/>
    <dgm:cxn modelId="{1B885F82-B84C-4695-AECA-80418A5B7E71}" type="presOf" srcId="{EA313893-4865-4D2A-B411-A9583C447998}" destId="{2B91DE99-FB3D-40B9-9827-F76B61DF0C13}" srcOrd="0" destOrd="0" presId="urn:diagrams.loki3.com/BracketList"/>
    <dgm:cxn modelId="{F94D4C84-D729-4065-B367-BAFC045EF498}" srcId="{FAB16A03-BE56-456B-A536-11D2B059B184}" destId="{DAB3F281-7B4F-49EC-8DF2-6797D69BDC56}" srcOrd="0" destOrd="0" parTransId="{6F984231-54E7-4CD8-B215-1F4C16DFC2F6}" sibTransId="{C69C4E7A-EC62-4329-8F2E-1F4E0F7537C2}"/>
    <dgm:cxn modelId="{EDADB58C-AA26-476F-93FF-0704938DA538}" srcId="{83035B10-5B03-4E94-B998-54AE7C044928}" destId="{F2465E65-C3E0-423D-B60A-CBBB12166DD6}" srcOrd="5" destOrd="0" parTransId="{D8845806-1D9D-4617-BBFA-FEA4939FF747}" sibTransId="{D6A1219B-E8CC-45FE-9E0F-99D20A856F7B}"/>
    <dgm:cxn modelId="{0DFFAD90-2F9A-46A3-89E6-68A064766737}" srcId="{FAB16A03-BE56-456B-A536-11D2B059B184}" destId="{715ABCDD-7748-47FB-9152-0DE37D243758}" srcOrd="1" destOrd="0" parTransId="{A4CDED56-308B-497B-BDAA-89BF5C12FE1C}" sibTransId="{60C13AFB-01B2-443D-B8DC-431B4AE659EC}"/>
    <dgm:cxn modelId="{2693BB9E-F2CD-4F85-AA3F-0D8505E9CD15}" srcId="{B7ABE164-295C-4643-A9AC-4A52A9ED0489}" destId="{E676A21A-338A-453B-AAD8-AE1E2984352F}" srcOrd="2" destOrd="0" parTransId="{5E57A9C1-04A6-49D4-AC5A-3AAB86452FC4}" sibTransId="{5A93F642-2A8F-4AA8-91EA-8C5E73BCE0E6}"/>
    <dgm:cxn modelId="{24E599A1-6729-4099-9255-88D181B968CF}" srcId="{EA313893-4865-4D2A-B411-A9583C447998}" destId="{AE188517-6F02-4DC7-9EA1-785FA319F063}" srcOrd="0" destOrd="0" parTransId="{74848A57-88CA-4171-BA55-469D8EB40C4E}" sibTransId="{568BD935-8EC2-4B1C-BF6A-A8560483E10B}"/>
    <dgm:cxn modelId="{3F672BA3-6B08-4E41-B0B1-EE48C70A6F7D}" type="presOf" srcId="{E0ED33B9-E057-48E4-9E71-165921651D87}" destId="{9175424E-612A-4B72-89CD-0EFDADCFDD1F}" srcOrd="0" destOrd="1" presId="urn:diagrams.loki3.com/BracketList"/>
    <dgm:cxn modelId="{601D92B6-4F88-4704-8384-4B4737DC3EC7}" type="presOf" srcId="{F2465E65-C3E0-423D-B60A-CBBB12166DD6}" destId="{603689CA-F9E4-44EC-B527-50FB539B823D}" srcOrd="0" destOrd="5" presId="urn:diagrams.loki3.com/BracketList"/>
    <dgm:cxn modelId="{0376D2BA-EE8B-4769-BC24-CC367BEE684B}" srcId="{83035B10-5B03-4E94-B998-54AE7C044928}" destId="{32CACD8F-92CC-4EB0-82A5-ED325E9C0DCF}" srcOrd="2" destOrd="0" parTransId="{A21F767D-FDA7-4106-99A9-F43109D327CE}" sibTransId="{D9DF8C18-8AD5-4792-BADC-2960152A17B4}"/>
    <dgm:cxn modelId="{147B58C2-DB15-4ED7-BAAA-B08374A5C799}" srcId="{83035B10-5B03-4E94-B998-54AE7C044928}" destId="{50C37763-24F8-4AA8-A32B-9F9CA6D119D6}" srcOrd="0" destOrd="0" parTransId="{F0D5E2E7-679F-4720-9577-5CD05DCDE746}" sibTransId="{49958AA6-4ED7-42C4-90F9-E8289337C9E3}"/>
    <dgm:cxn modelId="{F5977DCA-FCBA-4F37-ADC2-A8184D8E3430}" srcId="{AE188517-6F02-4DC7-9EA1-785FA319F063}" destId="{E0ED33B9-E057-48E4-9E71-165921651D87}" srcOrd="1" destOrd="0" parTransId="{8F5638B8-B583-4EA8-8527-E5F16E143838}" sibTransId="{51F416F3-006F-4031-AE82-2898447A66EE}"/>
    <dgm:cxn modelId="{079F09CF-DCE9-434C-8F2E-1D1CEF9AE618}" srcId="{EA313893-4865-4D2A-B411-A9583C447998}" destId="{83035B10-5B03-4E94-B998-54AE7C044928}" srcOrd="2" destOrd="0" parTransId="{29EAADE1-28CA-4B2F-9D08-E28BE3C336C9}" sibTransId="{CCAFAB26-9A3D-4842-B88A-B85DA7E92A54}"/>
    <dgm:cxn modelId="{B49A0BCF-26F9-4C92-9C5F-6F0EBA685DDD}" srcId="{409B9CC3-4843-4F1F-8DB8-96CB6DDF3AA2}" destId="{8C2B2478-3DF9-4134-955A-49E9307C40B0}" srcOrd="0" destOrd="0" parTransId="{5B180C60-8273-4432-91C5-E4FBCD533558}" sibTransId="{A7058E5A-5C03-4574-8AB8-5DCA8E545176}"/>
    <dgm:cxn modelId="{8C5358D7-12B8-4F5D-B86E-CCC731DF2ED5}" type="presOf" srcId="{409B9CC3-4843-4F1F-8DB8-96CB6DDF3AA2}" destId="{FD528662-2E78-46C5-AFEC-7596999AE27A}" srcOrd="0" destOrd="0" presId="urn:diagrams.loki3.com/BracketList"/>
    <dgm:cxn modelId="{D55887DD-0AA0-4CF4-B6DC-656DD41FC027}" type="presOf" srcId="{BDACD0F7-6180-4057-9453-3688A341F990}" destId="{603689CA-F9E4-44EC-B527-50FB539B823D}" srcOrd="0" destOrd="3" presId="urn:diagrams.loki3.com/BracketList"/>
    <dgm:cxn modelId="{67EF5EE5-3804-4D77-A770-4862443CBA60}" type="presOf" srcId="{8C2B2478-3DF9-4134-955A-49E9307C40B0}" destId="{8201724E-AC5F-494D-BB50-B7D7A454D657}" srcOrd="0" destOrd="0" presId="urn:diagrams.loki3.com/BracketList"/>
    <dgm:cxn modelId="{1CD85CE6-891A-4559-8C6A-B2B8D10777A3}" srcId="{AE188517-6F02-4DC7-9EA1-785FA319F063}" destId="{C435CE00-F12B-4E1E-88D5-230CB3206998}" srcOrd="0" destOrd="0" parTransId="{F9EB0DCC-9309-46BE-A5F1-946925EF213F}" sibTransId="{0CEF2004-E424-4306-81CF-77EC267D4144}"/>
    <dgm:cxn modelId="{EE0BA7E7-C37C-49A0-A211-E21D312230C5}" type="presOf" srcId="{AE188517-6F02-4DC7-9EA1-785FA319F063}" destId="{C8FB2B8E-8EB9-462C-A3BE-B343DF2940CF}" srcOrd="0" destOrd="0" presId="urn:diagrams.loki3.com/BracketList"/>
    <dgm:cxn modelId="{CBA447E9-10A8-4CB5-B5CE-0C5A8673E48E}" srcId="{83035B10-5B03-4E94-B998-54AE7C044928}" destId="{BDACD0F7-6180-4057-9453-3688A341F990}" srcOrd="3" destOrd="0" parTransId="{E4F3B442-D426-4A43-9F5D-27BAB10F10CE}" sibTransId="{08AD188E-871E-4AED-AB11-9BCCFB042448}"/>
    <dgm:cxn modelId="{9272B7FC-378B-4B83-9588-83966691943A}" type="presOf" srcId="{32CACD8F-92CC-4EB0-82A5-ED325E9C0DCF}" destId="{603689CA-F9E4-44EC-B527-50FB539B823D}" srcOrd="0" destOrd="2" presId="urn:diagrams.loki3.com/BracketList"/>
    <dgm:cxn modelId="{45DEC4BE-09CD-4236-B2DE-3491DD1CDAE7}" type="presParOf" srcId="{2B91DE99-FB3D-40B9-9827-F76B61DF0C13}" destId="{4567989C-4FE6-49AC-A2A7-D9284F6FD9E9}" srcOrd="0" destOrd="0" presId="urn:diagrams.loki3.com/BracketList"/>
    <dgm:cxn modelId="{FD53A306-1A94-4B70-8728-F90BD3C59D61}" type="presParOf" srcId="{4567989C-4FE6-49AC-A2A7-D9284F6FD9E9}" destId="{C8FB2B8E-8EB9-462C-A3BE-B343DF2940CF}" srcOrd="0" destOrd="0" presId="urn:diagrams.loki3.com/BracketList"/>
    <dgm:cxn modelId="{DB2714B7-0F22-42C4-B30D-FB52670835AA}" type="presParOf" srcId="{4567989C-4FE6-49AC-A2A7-D9284F6FD9E9}" destId="{08EC183C-AED6-4FF7-A9DF-6208AC571922}" srcOrd="1" destOrd="0" presId="urn:diagrams.loki3.com/BracketList"/>
    <dgm:cxn modelId="{BE0DD489-1719-4BAA-A118-A81EF249BE41}" type="presParOf" srcId="{4567989C-4FE6-49AC-A2A7-D9284F6FD9E9}" destId="{4F55B3C6-EC7F-488D-AAAC-8A7393E4380F}" srcOrd="2" destOrd="0" presId="urn:diagrams.loki3.com/BracketList"/>
    <dgm:cxn modelId="{3715B69E-396E-4A09-907F-7AB76460B7BE}" type="presParOf" srcId="{4567989C-4FE6-49AC-A2A7-D9284F6FD9E9}" destId="{9175424E-612A-4B72-89CD-0EFDADCFDD1F}" srcOrd="3" destOrd="0" presId="urn:diagrams.loki3.com/BracketList"/>
    <dgm:cxn modelId="{D3EA685A-CBFF-482A-95E7-F39337376F85}" type="presParOf" srcId="{2B91DE99-FB3D-40B9-9827-F76B61DF0C13}" destId="{CEC2B1A3-1726-4A39-94A3-4804FFB8C3F0}" srcOrd="1" destOrd="0" presId="urn:diagrams.loki3.com/BracketList"/>
    <dgm:cxn modelId="{722FE64F-F142-43FC-9BFD-D11B04EE4905}" type="presParOf" srcId="{2B91DE99-FB3D-40B9-9827-F76B61DF0C13}" destId="{19932F73-1CAF-4C59-8BFA-57C0FED3FFE6}" srcOrd="2" destOrd="0" presId="urn:diagrams.loki3.com/BracketList"/>
    <dgm:cxn modelId="{24E1145C-C9D5-484C-A782-5C016771A2F8}" type="presParOf" srcId="{19932F73-1CAF-4C59-8BFA-57C0FED3FFE6}" destId="{82E9A0E0-8D14-4848-9DD2-59E0CDC0AAFD}" srcOrd="0" destOrd="0" presId="urn:diagrams.loki3.com/BracketList"/>
    <dgm:cxn modelId="{33A40846-E684-4F8E-8F19-55F34A825D1B}" type="presParOf" srcId="{19932F73-1CAF-4C59-8BFA-57C0FED3FFE6}" destId="{BC4DC184-0FC8-4B22-8B26-0EC609A78835}" srcOrd="1" destOrd="0" presId="urn:diagrams.loki3.com/BracketList"/>
    <dgm:cxn modelId="{32C857B2-BCAD-4BDF-8E18-657DE9A8B6D2}" type="presParOf" srcId="{19932F73-1CAF-4C59-8BFA-57C0FED3FFE6}" destId="{FBA873B3-9422-4F35-9FBE-7724920B939D}" srcOrd="2" destOrd="0" presId="urn:diagrams.loki3.com/BracketList"/>
    <dgm:cxn modelId="{B5EB4D19-6502-48CC-A07C-BA044A822343}" type="presParOf" srcId="{19932F73-1CAF-4C59-8BFA-57C0FED3FFE6}" destId="{86E21F88-7726-4B6A-8AA4-50C3FB4AC66D}" srcOrd="3" destOrd="0" presId="urn:diagrams.loki3.com/BracketList"/>
    <dgm:cxn modelId="{C9B43430-FECE-4804-BA5F-058620F5DB74}" type="presParOf" srcId="{2B91DE99-FB3D-40B9-9827-F76B61DF0C13}" destId="{2A20A6C4-9D7F-459B-A86F-22BDE260726C}" srcOrd="3" destOrd="0" presId="urn:diagrams.loki3.com/BracketList"/>
    <dgm:cxn modelId="{7CD42F52-4700-4288-AC7A-FA575930E4AD}" type="presParOf" srcId="{2B91DE99-FB3D-40B9-9827-F76B61DF0C13}" destId="{9B42504F-709C-4C72-B940-6AE7E3D80974}" srcOrd="4" destOrd="0" presId="urn:diagrams.loki3.com/BracketList"/>
    <dgm:cxn modelId="{5DFF5123-21BE-430A-9181-DE44A64222A3}" type="presParOf" srcId="{9B42504F-709C-4C72-B940-6AE7E3D80974}" destId="{06464D07-8B60-462A-8EC4-545BAA8C97B1}" srcOrd="0" destOrd="0" presId="urn:diagrams.loki3.com/BracketList"/>
    <dgm:cxn modelId="{6EF4960F-7F29-4FB3-91CA-8D9F2F169435}" type="presParOf" srcId="{9B42504F-709C-4C72-B940-6AE7E3D80974}" destId="{756D71B1-CFF2-4550-9E9D-D836CC5523C0}" srcOrd="1" destOrd="0" presId="urn:diagrams.loki3.com/BracketList"/>
    <dgm:cxn modelId="{0FF8A310-2F33-4725-9EE0-1C5C39DF8708}" type="presParOf" srcId="{9B42504F-709C-4C72-B940-6AE7E3D80974}" destId="{600B3877-632C-4D99-BBA2-F4B87710B1A3}" srcOrd="2" destOrd="0" presId="urn:diagrams.loki3.com/BracketList"/>
    <dgm:cxn modelId="{C628FE04-D58F-4DEA-B36E-3F6FCBBC3126}" type="presParOf" srcId="{9B42504F-709C-4C72-B940-6AE7E3D80974}" destId="{603689CA-F9E4-44EC-B527-50FB539B823D}" srcOrd="3" destOrd="0" presId="urn:diagrams.loki3.com/BracketList"/>
    <dgm:cxn modelId="{C23D5235-829D-4F37-A987-E320BBC5F059}" type="presParOf" srcId="{2B91DE99-FB3D-40B9-9827-F76B61DF0C13}" destId="{D0322BD2-8077-405F-9EC9-F022003A48AB}" srcOrd="5" destOrd="0" presId="urn:diagrams.loki3.com/BracketList"/>
    <dgm:cxn modelId="{ADF43005-E894-42AC-AF31-FEE0C135C087}" type="presParOf" srcId="{2B91DE99-FB3D-40B9-9827-F76B61DF0C13}" destId="{CA18E8FC-FA63-43A4-99E8-B3F0AA05797A}" srcOrd="6" destOrd="0" presId="urn:diagrams.loki3.com/BracketList"/>
    <dgm:cxn modelId="{0351F6C6-7124-448D-A372-912F17B4A9AE}" type="presParOf" srcId="{CA18E8FC-FA63-43A4-99E8-B3F0AA05797A}" destId="{975FEC36-CD0E-4BA1-9445-37B05FFD96CD}" srcOrd="0" destOrd="0" presId="urn:diagrams.loki3.com/BracketList"/>
    <dgm:cxn modelId="{B80B2DAA-0068-4D49-A88E-2F3E1DC9F787}" type="presParOf" srcId="{CA18E8FC-FA63-43A4-99E8-B3F0AA05797A}" destId="{719BA57B-B751-40B6-88AD-FF402F20568B}" srcOrd="1" destOrd="0" presId="urn:diagrams.loki3.com/BracketList"/>
    <dgm:cxn modelId="{B305F177-A3AA-4EB8-AC7E-2D941920BF0B}" type="presParOf" srcId="{CA18E8FC-FA63-43A4-99E8-B3F0AA05797A}" destId="{9289F2B8-9F22-44F4-AE69-BDC1722E50CB}" srcOrd="2" destOrd="0" presId="urn:diagrams.loki3.com/BracketList"/>
    <dgm:cxn modelId="{6C5B9AE6-9B23-49DA-BE8F-F26CB1D3939E}" type="presParOf" srcId="{CA18E8FC-FA63-43A4-99E8-B3F0AA05797A}" destId="{F2B5D16A-6048-4E1D-9634-1D2AF0A2F256}" srcOrd="3" destOrd="0" presId="urn:diagrams.loki3.com/BracketList"/>
    <dgm:cxn modelId="{6948F0C7-BCD3-4FC1-A6C4-727F9F085F2B}" type="presParOf" srcId="{2B91DE99-FB3D-40B9-9827-F76B61DF0C13}" destId="{483EAE36-B7B2-46A2-8BA1-36589AAA1D62}" srcOrd="7" destOrd="0" presId="urn:diagrams.loki3.com/BracketList"/>
    <dgm:cxn modelId="{22F2A3C6-6F61-40DD-BA88-E0D632612853}" type="presParOf" srcId="{2B91DE99-FB3D-40B9-9827-F76B61DF0C13}" destId="{02082B38-B0E7-42AB-937A-8F336CBBE0AC}" srcOrd="8" destOrd="0" presId="urn:diagrams.loki3.com/BracketList"/>
    <dgm:cxn modelId="{21C0474B-6F24-4D28-8BD2-593FCB37B8B8}" type="presParOf" srcId="{02082B38-B0E7-42AB-937A-8F336CBBE0AC}" destId="{FD528662-2E78-46C5-AFEC-7596999AE27A}" srcOrd="0" destOrd="0" presId="urn:diagrams.loki3.com/BracketList"/>
    <dgm:cxn modelId="{F1E700AF-31D8-49BD-9968-03D649EAB1DA}" type="presParOf" srcId="{02082B38-B0E7-42AB-937A-8F336CBBE0AC}" destId="{017728F1-FB8F-480D-960E-335CD7ADAB3C}" srcOrd="1" destOrd="0" presId="urn:diagrams.loki3.com/BracketList"/>
    <dgm:cxn modelId="{98048B2A-6F7C-4445-8D74-BDFF0AAA4401}" type="presParOf" srcId="{02082B38-B0E7-42AB-937A-8F336CBBE0AC}" destId="{E6DBF0EA-C16A-4AB0-8F5A-26C345274E5E}" srcOrd="2" destOrd="0" presId="urn:diagrams.loki3.com/BracketList"/>
    <dgm:cxn modelId="{0671BCB3-0934-4472-8C41-37DD429A6287}" type="presParOf" srcId="{02082B38-B0E7-42AB-937A-8F336CBBE0AC}" destId="{8201724E-AC5F-494D-BB50-B7D7A454D657}" srcOrd="3" destOrd="0" presId="urn:diagrams.loki3.com/Bracke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C6ABD0-F64A-458E-8A26-0D837897DC64}">
      <dsp:nvSpPr>
        <dsp:cNvPr id="0" name=""/>
        <dsp:cNvSpPr/>
      </dsp:nvSpPr>
      <dsp:spPr>
        <a:xfrm rot="5400000">
          <a:off x="5640941" y="-1234478"/>
          <a:ext cx="1023214" cy="3753825"/>
        </a:xfrm>
        <a:prstGeom prst="round2SameRect">
          <a:avLst/>
        </a:prstGeom>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accent1"/>
        </a:lnRef>
        <a:fillRef idx="3">
          <a:schemeClr val="accent1"/>
        </a:fillRef>
        <a:effectRef idx="3">
          <a:schemeClr val="accent1"/>
        </a:effectRef>
        <a:fontRef idx="minor">
          <a:schemeClr val="lt1"/>
        </a:fontRef>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solidFill>
                <a:schemeClr val="bg1"/>
              </a:solidFill>
              <a:latin typeface="+mj-lt"/>
            </a:rPr>
            <a:t>Define Objectives</a:t>
          </a:r>
        </a:p>
        <a:p>
          <a:pPr marL="228600" lvl="1" indent="-228600" algn="l" defTabSz="889000">
            <a:lnSpc>
              <a:spcPct val="90000"/>
            </a:lnSpc>
            <a:spcBef>
              <a:spcPct val="0"/>
            </a:spcBef>
            <a:spcAft>
              <a:spcPct val="15000"/>
            </a:spcAft>
            <a:buChar char="•"/>
          </a:pPr>
          <a:r>
            <a:rPr lang="en-US" sz="2000" kern="1200" dirty="0">
              <a:solidFill>
                <a:schemeClr val="bg1"/>
              </a:solidFill>
              <a:latin typeface="+mj-lt"/>
            </a:rPr>
            <a:t>Identify Data Sources</a:t>
          </a:r>
        </a:p>
      </dsp:txBody>
      <dsp:txXfrm rot="-5400000">
        <a:off x="4275636" y="180776"/>
        <a:ext cx="3703876" cy="923316"/>
      </dsp:txXfrm>
    </dsp:sp>
    <dsp:sp modelId="{FCE31E78-3DAC-4692-A464-D0C835B3F5C0}">
      <dsp:nvSpPr>
        <dsp:cNvPr id="0" name=""/>
        <dsp:cNvSpPr/>
      </dsp:nvSpPr>
      <dsp:spPr>
        <a:xfrm>
          <a:off x="111" y="2925"/>
          <a:ext cx="4275524" cy="1279018"/>
        </a:xfrm>
        <a:prstGeom prst="roundRect">
          <a:avLst/>
        </a:prstGeom>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accent1"/>
        </a:lnRef>
        <a:fillRef idx="3">
          <a:schemeClr val="accent1"/>
        </a:fillRef>
        <a:effectRef idx="3">
          <a:schemeClr val="accent1"/>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dirty="0">
              <a:solidFill>
                <a:schemeClr val="bg1"/>
              </a:solidFill>
              <a:latin typeface="+mj-lt"/>
            </a:rPr>
            <a:t>Business Understanding</a:t>
          </a:r>
        </a:p>
      </dsp:txBody>
      <dsp:txXfrm>
        <a:off x="62548" y="65362"/>
        <a:ext cx="4150650" cy="1154144"/>
      </dsp:txXfrm>
    </dsp:sp>
    <dsp:sp modelId="{B35FD520-5FF0-41BD-887C-8B0911FFCB12}">
      <dsp:nvSpPr>
        <dsp:cNvPr id="0" name=""/>
        <dsp:cNvSpPr/>
      </dsp:nvSpPr>
      <dsp:spPr>
        <a:xfrm rot="5400000">
          <a:off x="5624380" y="108491"/>
          <a:ext cx="1056336" cy="3753825"/>
        </a:xfrm>
        <a:prstGeom prst="round2SameRect">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44550">
            <a:lnSpc>
              <a:spcPct val="90000"/>
            </a:lnSpc>
            <a:spcBef>
              <a:spcPct val="0"/>
            </a:spcBef>
            <a:spcAft>
              <a:spcPct val="15000"/>
            </a:spcAft>
            <a:buChar char="•"/>
          </a:pPr>
          <a:r>
            <a:rPr lang="en-US" sz="1900" kern="1200">
              <a:latin typeface="+mj-lt"/>
            </a:rPr>
            <a:t>Ingest Data</a:t>
          </a:r>
          <a:endParaRPr lang="en-US" sz="1900" kern="1200" dirty="0">
            <a:latin typeface="+mj-lt"/>
          </a:endParaRPr>
        </a:p>
        <a:p>
          <a:pPr marL="171450" lvl="1" indent="-171450" algn="l" defTabSz="844550">
            <a:lnSpc>
              <a:spcPct val="90000"/>
            </a:lnSpc>
            <a:spcBef>
              <a:spcPct val="0"/>
            </a:spcBef>
            <a:spcAft>
              <a:spcPct val="15000"/>
            </a:spcAft>
            <a:buChar char="•"/>
          </a:pPr>
          <a:r>
            <a:rPr lang="en-US" sz="1900" kern="1200">
              <a:latin typeface="+mj-lt"/>
            </a:rPr>
            <a:t>Explore Data</a:t>
          </a:r>
          <a:endParaRPr lang="en-US" sz="1900" kern="1200" dirty="0">
            <a:latin typeface="+mj-lt"/>
          </a:endParaRPr>
        </a:p>
        <a:p>
          <a:pPr marL="171450" lvl="1" indent="-171450" algn="l" defTabSz="844550">
            <a:lnSpc>
              <a:spcPct val="90000"/>
            </a:lnSpc>
            <a:spcBef>
              <a:spcPct val="0"/>
            </a:spcBef>
            <a:spcAft>
              <a:spcPct val="15000"/>
            </a:spcAft>
            <a:buChar char="•"/>
          </a:pPr>
          <a:r>
            <a:rPr lang="en-US" sz="1900" kern="1200">
              <a:latin typeface="+mj-lt"/>
            </a:rPr>
            <a:t>Update Data</a:t>
          </a:r>
          <a:endParaRPr lang="en-US" sz="1900" kern="1200" dirty="0">
            <a:latin typeface="+mj-lt"/>
          </a:endParaRPr>
        </a:p>
      </dsp:txBody>
      <dsp:txXfrm rot="-5400000">
        <a:off x="4275636" y="1508801"/>
        <a:ext cx="3702259" cy="953204"/>
      </dsp:txXfrm>
    </dsp:sp>
    <dsp:sp modelId="{3E606814-09D9-4B4C-8F40-66F312978EEB}">
      <dsp:nvSpPr>
        <dsp:cNvPr id="0" name=""/>
        <dsp:cNvSpPr/>
      </dsp:nvSpPr>
      <dsp:spPr>
        <a:xfrm>
          <a:off x="111" y="1345894"/>
          <a:ext cx="4275524" cy="1279018"/>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latin typeface="+mj-lt"/>
            </a:rPr>
            <a:t>Data Acquisition and Understanding</a:t>
          </a:r>
          <a:endParaRPr lang="en-US" sz="3200" kern="1200" dirty="0">
            <a:latin typeface="+mj-lt"/>
          </a:endParaRPr>
        </a:p>
      </dsp:txBody>
      <dsp:txXfrm>
        <a:off x="62548" y="1408331"/>
        <a:ext cx="4150650" cy="1154144"/>
      </dsp:txXfrm>
    </dsp:sp>
    <dsp:sp modelId="{EF322D6C-1CB6-431F-8B42-A64D898D2824}">
      <dsp:nvSpPr>
        <dsp:cNvPr id="0" name=""/>
        <dsp:cNvSpPr/>
      </dsp:nvSpPr>
      <dsp:spPr>
        <a:xfrm rot="5400000">
          <a:off x="5640941" y="1451460"/>
          <a:ext cx="1023214" cy="3753825"/>
        </a:xfrm>
        <a:prstGeom prst="round2SameRect">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a:latin typeface="+mj-lt"/>
            </a:rPr>
            <a:t>Feature Selection</a:t>
          </a:r>
          <a:endParaRPr lang="en-US" sz="2000" kern="1200" dirty="0">
            <a:latin typeface="+mj-lt"/>
          </a:endParaRPr>
        </a:p>
        <a:p>
          <a:pPr marL="228600" lvl="1" indent="-228600" algn="l" defTabSz="889000">
            <a:lnSpc>
              <a:spcPct val="90000"/>
            </a:lnSpc>
            <a:spcBef>
              <a:spcPct val="0"/>
            </a:spcBef>
            <a:spcAft>
              <a:spcPct val="15000"/>
            </a:spcAft>
            <a:buChar char="•"/>
          </a:pPr>
          <a:r>
            <a:rPr lang="en-US" sz="2000" kern="1200">
              <a:latin typeface="+mj-lt"/>
            </a:rPr>
            <a:t>Create and Train Model</a:t>
          </a:r>
          <a:endParaRPr lang="en-US" sz="2000" kern="1200" dirty="0">
            <a:latin typeface="+mj-lt"/>
          </a:endParaRPr>
        </a:p>
      </dsp:txBody>
      <dsp:txXfrm rot="-5400000">
        <a:off x="4275636" y="2866715"/>
        <a:ext cx="3703876" cy="923316"/>
      </dsp:txXfrm>
    </dsp:sp>
    <dsp:sp modelId="{D8CBC06D-2193-488F-8EDE-5FAA991E0B6B}">
      <dsp:nvSpPr>
        <dsp:cNvPr id="0" name=""/>
        <dsp:cNvSpPr/>
      </dsp:nvSpPr>
      <dsp:spPr>
        <a:xfrm>
          <a:off x="111" y="2688864"/>
          <a:ext cx="4275524" cy="1279018"/>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latin typeface="+mj-lt"/>
            </a:rPr>
            <a:t>Modeling</a:t>
          </a:r>
          <a:endParaRPr lang="en-US" sz="3200" kern="1200" dirty="0">
            <a:latin typeface="+mj-lt"/>
          </a:endParaRPr>
        </a:p>
      </dsp:txBody>
      <dsp:txXfrm>
        <a:off x="62548" y="2751301"/>
        <a:ext cx="4150650" cy="1154144"/>
      </dsp:txXfrm>
    </dsp:sp>
    <dsp:sp modelId="{DE1FE771-1582-4775-9E8F-B758D933162D}">
      <dsp:nvSpPr>
        <dsp:cNvPr id="0" name=""/>
        <dsp:cNvSpPr/>
      </dsp:nvSpPr>
      <dsp:spPr>
        <a:xfrm rot="5400000">
          <a:off x="5640941" y="2794430"/>
          <a:ext cx="1023214" cy="3753825"/>
        </a:xfrm>
        <a:prstGeom prst="round2SameRect">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a:latin typeface="+mj-lt"/>
            </a:rPr>
            <a:t>Operationalize</a:t>
          </a:r>
          <a:endParaRPr lang="en-US" sz="2000" kern="1200" dirty="0">
            <a:latin typeface="+mj-lt"/>
          </a:endParaRPr>
        </a:p>
      </dsp:txBody>
      <dsp:txXfrm rot="-5400000">
        <a:off x="4275636" y="4209685"/>
        <a:ext cx="3703876" cy="923316"/>
      </dsp:txXfrm>
    </dsp:sp>
    <dsp:sp modelId="{C971C0CD-D6D6-4BD2-B517-483DD2B85EA0}">
      <dsp:nvSpPr>
        <dsp:cNvPr id="0" name=""/>
        <dsp:cNvSpPr/>
      </dsp:nvSpPr>
      <dsp:spPr>
        <a:xfrm>
          <a:off x="111" y="4031833"/>
          <a:ext cx="4275524" cy="1279018"/>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latin typeface="+mj-lt"/>
            </a:rPr>
            <a:t>Deployment</a:t>
          </a:r>
          <a:endParaRPr lang="en-US" sz="3200" kern="1200" dirty="0">
            <a:latin typeface="+mj-lt"/>
          </a:endParaRPr>
        </a:p>
      </dsp:txBody>
      <dsp:txXfrm>
        <a:off x="62548" y="4094270"/>
        <a:ext cx="4150650" cy="1154144"/>
      </dsp:txXfrm>
    </dsp:sp>
    <dsp:sp modelId="{E36319A3-4DDD-4596-A48B-3AFC2FB82E08}">
      <dsp:nvSpPr>
        <dsp:cNvPr id="0" name=""/>
        <dsp:cNvSpPr/>
      </dsp:nvSpPr>
      <dsp:spPr>
        <a:xfrm rot="5400000">
          <a:off x="5640941" y="4137399"/>
          <a:ext cx="1023214" cy="3753825"/>
        </a:xfrm>
        <a:prstGeom prst="round2SameRect">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44550">
            <a:lnSpc>
              <a:spcPct val="90000"/>
            </a:lnSpc>
            <a:spcBef>
              <a:spcPct val="0"/>
            </a:spcBef>
            <a:spcAft>
              <a:spcPct val="15000"/>
            </a:spcAft>
            <a:buChar char="•"/>
          </a:pPr>
          <a:r>
            <a:rPr lang="en-US" sz="1900" kern="1200">
              <a:latin typeface="+mj-lt"/>
            </a:rPr>
            <a:t>Testing and Validation</a:t>
          </a:r>
          <a:endParaRPr lang="en-US" sz="1900" kern="1200" dirty="0">
            <a:latin typeface="+mj-lt"/>
          </a:endParaRPr>
        </a:p>
        <a:p>
          <a:pPr marL="171450" lvl="1" indent="-171450" algn="l" defTabSz="844550">
            <a:lnSpc>
              <a:spcPct val="90000"/>
            </a:lnSpc>
            <a:spcBef>
              <a:spcPct val="0"/>
            </a:spcBef>
            <a:spcAft>
              <a:spcPct val="15000"/>
            </a:spcAft>
            <a:buChar char="•"/>
          </a:pPr>
          <a:r>
            <a:rPr lang="en-US" sz="1900" kern="1200">
              <a:latin typeface="+mj-lt"/>
            </a:rPr>
            <a:t>Handoff</a:t>
          </a:r>
          <a:endParaRPr lang="en-US" sz="1900" kern="1200" dirty="0">
            <a:latin typeface="+mj-lt"/>
          </a:endParaRPr>
        </a:p>
        <a:p>
          <a:pPr marL="171450" lvl="1" indent="-171450" algn="l" defTabSz="844550">
            <a:lnSpc>
              <a:spcPct val="90000"/>
            </a:lnSpc>
            <a:spcBef>
              <a:spcPct val="0"/>
            </a:spcBef>
            <a:spcAft>
              <a:spcPct val="15000"/>
            </a:spcAft>
            <a:buChar char="•"/>
          </a:pPr>
          <a:r>
            <a:rPr lang="en-US" sz="1900" kern="1200">
              <a:latin typeface="+mj-lt"/>
            </a:rPr>
            <a:t>Re-train and re-score</a:t>
          </a:r>
          <a:endParaRPr lang="en-US" sz="1900" kern="1200" dirty="0">
            <a:latin typeface="+mj-lt"/>
          </a:endParaRPr>
        </a:p>
      </dsp:txBody>
      <dsp:txXfrm rot="-5400000">
        <a:off x="4275636" y="5552654"/>
        <a:ext cx="3703876" cy="923316"/>
      </dsp:txXfrm>
    </dsp:sp>
    <dsp:sp modelId="{C5DBDEB5-64EF-486D-ADE8-9AD2774135B2}">
      <dsp:nvSpPr>
        <dsp:cNvPr id="0" name=""/>
        <dsp:cNvSpPr/>
      </dsp:nvSpPr>
      <dsp:spPr>
        <a:xfrm>
          <a:off x="111" y="5374803"/>
          <a:ext cx="4275524" cy="1279018"/>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latin typeface="+mj-lt"/>
            </a:rPr>
            <a:t>Customer Acceptance</a:t>
          </a:r>
          <a:endParaRPr lang="en-US" sz="3200" kern="1200" dirty="0">
            <a:latin typeface="+mj-lt"/>
          </a:endParaRPr>
        </a:p>
      </dsp:txBody>
      <dsp:txXfrm>
        <a:off x="62548" y="5437240"/>
        <a:ext cx="4150650" cy="115414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FB2B8E-8EB9-462C-A3BE-B343DF2940CF}">
      <dsp:nvSpPr>
        <dsp:cNvPr id="0" name=""/>
        <dsp:cNvSpPr/>
      </dsp:nvSpPr>
      <dsp:spPr>
        <a:xfrm>
          <a:off x="0" y="307657"/>
          <a:ext cx="2103111" cy="717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a:t>Information Management</a:t>
          </a:r>
          <a:endParaRPr lang="en-US" sz="2000" kern="1200" dirty="0"/>
        </a:p>
      </dsp:txBody>
      <dsp:txXfrm>
        <a:off x="0" y="307657"/>
        <a:ext cx="2103111" cy="717750"/>
      </dsp:txXfrm>
    </dsp:sp>
    <dsp:sp modelId="{08EC183C-AED6-4FF7-A9DF-6208AC571922}">
      <dsp:nvSpPr>
        <dsp:cNvPr id="0" name=""/>
        <dsp:cNvSpPr/>
      </dsp:nvSpPr>
      <dsp:spPr>
        <a:xfrm>
          <a:off x="2103111" y="83360"/>
          <a:ext cx="420622" cy="1166343"/>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175424E-612A-4B72-89CD-0EFDADCFDD1F}">
      <dsp:nvSpPr>
        <dsp:cNvPr id="0" name=""/>
        <dsp:cNvSpPr/>
      </dsp:nvSpPr>
      <dsp:spPr>
        <a:xfrm>
          <a:off x="2691982" y="83360"/>
          <a:ext cx="5720462" cy="1166343"/>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b="1" kern="1200" dirty="0">
              <a:solidFill>
                <a:schemeClr val="accent1">
                  <a:lumMod val="75000"/>
                </a:schemeClr>
              </a:solidFill>
            </a:rPr>
            <a:t>Data Catalog</a:t>
          </a:r>
        </a:p>
        <a:p>
          <a:pPr marL="228600" lvl="1" indent="-228600" algn="l" defTabSz="889000">
            <a:lnSpc>
              <a:spcPct val="90000"/>
            </a:lnSpc>
            <a:spcBef>
              <a:spcPct val="0"/>
            </a:spcBef>
            <a:spcAft>
              <a:spcPct val="15000"/>
            </a:spcAft>
            <a:buChar char="•"/>
          </a:pPr>
          <a:r>
            <a:rPr lang="en-US" sz="2000" kern="1200" dirty="0"/>
            <a:t>Data Factory</a:t>
          </a:r>
        </a:p>
        <a:p>
          <a:pPr marL="228600" lvl="1" indent="-228600" algn="l" defTabSz="889000">
            <a:lnSpc>
              <a:spcPct val="90000"/>
            </a:lnSpc>
            <a:spcBef>
              <a:spcPct val="0"/>
            </a:spcBef>
            <a:spcAft>
              <a:spcPct val="15000"/>
            </a:spcAft>
            <a:buChar char="•"/>
          </a:pPr>
          <a:r>
            <a:rPr lang="en-US" sz="2000" kern="1200"/>
            <a:t>Event Hubs</a:t>
          </a:r>
          <a:endParaRPr lang="en-US" sz="2000" kern="1200" dirty="0"/>
        </a:p>
      </dsp:txBody>
      <dsp:txXfrm>
        <a:off x="2691982" y="83360"/>
        <a:ext cx="5720462" cy="1166343"/>
      </dsp:txXfrm>
    </dsp:sp>
    <dsp:sp modelId="{82E9A0E0-8D14-4848-9DD2-59E0CDC0AAFD}">
      <dsp:nvSpPr>
        <dsp:cNvPr id="0" name=""/>
        <dsp:cNvSpPr/>
      </dsp:nvSpPr>
      <dsp:spPr>
        <a:xfrm>
          <a:off x="0" y="1883219"/>
          <a:ext cx="2103111" cy="408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a:t>Big Data</a:t>
          </a:r>
          <a:endParaRPr lang="en-US" sz="2000" kern="1200" dirty="0"/>
        </a:p>
      </dsp:txBody>
      <dsp:txXfrm>
        <a:off x="0" y="1883219"/>
        <a:ext cx="2103111" cy="408375"/>
      </dsp:txXfrm>
    </dsp:sp>
    <dsp:sp modelId="{BC4DC184-0FC8-4B22-8B26-0EC609A78835}">
      <dsp:nvSpPr>
        <dsp:cNvPr id="0" name=""/>
        <dsp:cNvSpPr/>
      </dsp:nvSpPr>
      <dsp:spPr>
        <a:xfrm>
          <a:off x="2103111" y="1321704"/>
          <a:ext cx="420622" cy="1531406"/>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6E21F88-7726-4B6A-8AA4-50C3FB4AC66D}">
      <dsp:nvSpPr>
        <dsp:cNvPr id="0" name=""/>
        <dsp:cNvSpPr/>
      </dsp:nvSpPr>
      <dsp:spPr>
        <a:xfrm>
          <a:off x="2691982" y="1321704"/>
          <a:ext cx="5720462" cy="1531406"/>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a:t>Azure Storage</a:t>
          </a:r>
          <a:endParaRPr lang="en-US" sz="2000" kern="1200" dirty="0"/>
        </a:p>
        <a:p>
          <a:pPr marL="228600" lvl="1" indent="-228600" algn="l" defTabSz="889000">
            <a:lnSpc>
              <a:spcPct val="90000"/>
            </a:lnSpc>
            <a:spcBef>
              <a:spcPct val="0"/>
            </a:spcBef>
            <a:spcAft>
              <a:spcPct val="15000"/>
            </a:spcAft>
            <a:buChar char="•"/>
          </a:pPr>
          <a:r>
            <a:rPr lang="en-US" sz="2000" kern="1200"/>
            <a:t>Data Lake</a:t>
          </a:r>
          <a:endParaRPr lang="en-US" sz="2000" kern="1200" dirty="0"/>
        </a:p>
        <a:p>
          <a:pPr marL="228600" lvl="1" indent="-228600" algn="l" defTabSz="889000">
            <a:lnSpc>
              <a:spcPct val="90000"/>
            </a:lnSpc>
            <a:spcBef>
              <a:spcPct val="0"/>
            </a:spcBef>
            <a:spcAft>
              <a:spcPct val="15000"/>
            </a:spcAft>
            <a:buChar char="•"/>
          </a:pPr>
          <a:r>
            <a:rPr lang="en-US" sz="2000" kern="1200"/>
            <a:t>SQL Data Warehouse</a:t>
          </a:r>
          <a:endParaRPr lang="en-US" sz="2000" kern="1200" dirty="0"/>
        </a:p>
        <a:p>
          <a:pPr marL="228600" lvl="1" indent="-228600" algn="l" defTabSz="889000">
            <a:lnSpc>
              <a:spcPct val="90000"/>
            </a:lnSpc>
            <a:spcBef>
              <a:spcPct val="0"/>
            </a:spcBef>
            <a:spcAft>
              <a:spcPct val="15000"/>
            </a:spcAft>
            <a:buChar char="•"/>
          </a:pPr>
          <a:r>
            <a:rPr lang="en-US" sz="2000" kern="1200"/>
            <a:t>Cosmos DB</a:t>
          </a:r>
          <a:endParaRPr lang="en-US" sz="2000" kern="1200" dirty="0"/>
        </a:p>
      </dsp:txBody>
      <dsp:txXfrm>
        <a:off x="2691982" y="1321704"/>
        <a:ext cx="5720462" cy="1531406"/>
      </dsp:txXfrm>
    </dsp:sp>
    <dsp:sp modelId="{06464D07-8B60-462A-8EC4-545BAA8C97B1}">
      <dsp:nvSpPr>
        <dsp:cNvPr id="0" name=""/>
        <dsp:cNvSpPr/>
      </dsp:nvSpPr>
      <dsp:spPr>
        <a:xfrm>
          <a:off x="0" y="3559329"/>
          <a:ext cx="2103111" cy="1014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a:t>Intelligence and Advanced Analytics</a:t>
          </a:r>
          <a:endParaRPr lang="en-US" sz="2000" kern="1200" dirty="0"/>
        </a:p>
      </dsp:txBody>
      <dsp:txXfrm>
        <a:off x="0" y="3559329"/>
        <a:ext cx="2103111" cy="1014750"/>
      </dsp:txXfrm>
    </dsp:sp>
    <dsp:sp modelId="{756D71B1-CFF2-4550-9E9D-D836CC5523C0}">
      <dsp:nvSpPr>
        <dsp:cNvPr id="0" name=""/>
        <dsp:cNvSpPr/>
      </dsp:nvSpPr>
      <dsp:spPr>
        <a:xfrm>
          <a:off x="2103111" y="2925110"/>
          <a:ext cx="420622" cy="2283187"/>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03689CA-F9E4-44EC-B527-50FB539B823D}">
      <dsp:nvSpPr>
        <dsp:cNvPr id="0" name=""/>
        <dsp:cNvSpPr/>
      </dsp:nvSpPr>
      <dsp:spPr>
        <a:xfrm>
          <a:off x="2691982" y="2925110"/>
          <a:ext cx="5720462" cy="2283187"/>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Cortana, Bot Service, Cognitive Framework</a:t>
          </a:r>
        </a:p>
        <a:p>
          <a:pPr marL="228600" lvl="1" indent="-228600" algn="l" defTabSz="889000">
            <a:lnSpc>
              <a:spcPct val="90000"/>
            </a:lnSpc>
            <a:spcBef>
              <a:spcPct val="0"/>
            </a:spcBef>
            <a:spcAft>
              <a:spcPct val="15000"/>
            </a:spcAft>
            <a:buChar char="•"/>
          </a:pPr>
          <a:r>
            <a:rPr lang="en-US" sz="2000" kern="1200"/>
            <a:t>Machine Learning</a:t>
          </a:r>
          <a:endParaRPr lang="en-US" sz="2000" kern="1200" dirty="0"/>
        </a:p>
        <a:p>
          <a:pPr marL="228600" lvl="1" indent="-228600" algn="l" defTabSz="889000">
            <a:lnSpc>
              <a:spcPct val="90000"/>
            </a:lnSpc>
            <a:spcBef>
              <a:spcPct val="0"/>
            </a:spcBef>
            <a:spcAft>
              <a:spcPct val="15000"/>
            </a:spcAft>
            <a:buChar char="•"/>
          </a:pPr>
          <a:r>
            <a:rPr lang="en-US" sz="2000" kern="1200" dirty="0"/>
            <a:t>HDInsight</a:t>
          </a:r>
        </a:p>
        <a:p>
          <a:pPr marL="228600" lvl="1" indent="-228600" algn="l" defTabSz="889000">
            <a:lnSpc>
              <a:spcPct val="90000"/>
            </a:lnSpc>
            <a:spcBef>
              <a:spcPct val="0"/>
            </a:spcBef>
            <a:spcAft>
              <a:spcPct val="15000"/>
            </a:spcAft>
            <a:buChar char="•"/>
          </a:pPr>
          <a:r>
            <a:rPr lang="en-US" sz="2000" kern="1200" dirty="0"/>
            <a:t>Data Lake</a:t>
          </a:r>
        </a:p>
        <a:p>
          <a:pPr marL="228600" lvl="1" indent="-228600" algn="l" defTabSz="889000">
            <a:lnSpc>
              <a:spcPct val="90000"/>
            </a:lnSpc>
            <a:spcBef>
              <a:spcPct val="0"/>
            </a:spcBef>
            <a:spcAft>
              <a:spcPct val="15000"/>
            </a:spcAft>
            <a:buChar char="•"/>
          </a:pPr>
          <a:r>
            <a:rPr lang="en-US" sz="2000" kern="1200"/>
            <a:t>Stream Analytics</a:t>
          </a:r>
          <a:endParaRPr lang="en-US" sz="2000" kern="1200" dirty="0"/>
        </a:p>
        <a:p>
          <a:pPr marL="228600" lvl="1" indent="-228600" algn="l" defTabSz="889000">
            <a:lnSpc>
              <a:spcPct val="90000"/>
            </a:lnSpc>
            <a:spcBef>
              <a:spcPct val="0"/>
            </a:spcBef>
            <a:spcAft>
              <a:spcPct val="15000"/>
            </a:spcAft>
            <a:buChar char="•"/>
          </a:pPr>
          <a:r>
            <a:rPr lang="en-US" sz="2000" kern="1200"/>
            <a:t>Analysis Services</a:t>
          </a:r>
          <a:endParaRPr lang="en-US" sz="2000" kern="1200" dirty="0"/>
        </a:p>
      </dsp:txBody>
      <dsp:txXfrm>
        <a:off x="2691982" y="2925110"/>
        <a:ext cx="5720462" cy="2283187"/>
      </dsp:txXfrm>
    </dsp:sp>
    <dsp:sp modelId="{975FEC36-CD0E-4BA1-9445-37B05FFD96CD}">
      <dsp:nvSpPr>
        <dsp:cNvPr id="0" name=""/>
        <dsp:cNvSpPr/>
      </dsp:nvSpPr>
      <dsp:spPr>
        <a:xfrm>
          <a:off x="0" y="5484485"/>
          <a:ext cx="2105167" cy="408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a:t>Visualization</a:t>
          </a:r>
          <a:endParaRPr lang="en-US" sz="2000" kern="1200" dirty="0"/>
        </a:p>
      </dsp:txBody>
      <dsp:txXfrm>
        <a:off x="0" y="5484485"/>
        <a:ext cx="2105167" cy="408375"/>
      </dsp:txXfrm>
    </dsp:sp>
    <dsp:sp modelId="{719BA57B-B751-40B6-88AD-FF402F20568B}">
      <dsp:nvSpPr>
        <dsp:cNvPr id="0" name=""/>
        <dsp:cNvSpPr/>
      </dsp:nvSpPr>
      <dsp:spPr>
        <a:xfrm>
          <a:off x="2105166" y="5280297"/>
          <a:ext cx="421033" cy="816750"/>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2B5D16A-6048-4E1D-9634-1D2AF0A2F256}">
      <dsp:nvSpPr>
        <dsp:cNvPr id="0" name=""/>
        <dsp:cNvSpPr/>
      </dsp:nvSpPr>
      <dsp:spPr>
        <a:xfrm>
          <a:off x="2694613" y="5280297"/>
          <a:ext cx="5726054" cy="816750"/>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solidFill>
                <a:srgbClr val="505050">
                  <a:hueOff val="0"/>
                  <a:satOff val="0"/>
                  <a:lumOff val="0"/>
                  <a:alphaOff val="0"/>
                </a:srgbClr>
              </a:solidFill>
              <a:latin typeface="Segoe UI"/>
              <a:ea typeface="+mn-ea"/>
              <a:cs typeface="+mn-cs"/>
            </a:rPr>
            <a:t>Power BI</a:t>
          </a:r>
        </a:p>
        <a:p>
          <a:pPr marL="228600" lvl="1" indent="-228600" algn="l" defTabSz="889000">
            <a:lnSpc>
              <a:spcPct val="90000"/>
            </a:lnSpc>
            <a:spcBef>
              <a:spcPct val="0"/>
            </a:spcBef>
            <a:spcAft>
              <a:spcPct val="15000"/>
            </a:spcAft>
            <a:buChar char="•"/>
          </a:pPr>
          <a:r>
            <a:rPr lang="en-US" sz="2000" kern="1200" dirty="0">
              <a:solidFill>
                <a:srgbClr val="505050">
                  <a:hueOff val="0"/>
                  <a:satOff val="0"/>
                  <a:lumOff val="0"/>
                  <a:alphaOff val="0"/>
                </a:srgbClr>
              </a:solidFill>
              <a:latin typeface="Segoe UI"/>
              <a:ea typeface="+mn-ea"/>
              <a:cs typeface="+mn-cs"/>
            </a:rPr>
            <a:t>R</a:t>
          </a:r>
        </a:p>
      </dsp:txBody>
      <dsp:txXfrm>
        <a:off x="2694613" y="5280297"/>
        <a:ext cx="5726054" cy="816750"/>
      </dsp:txXfrm>
    </dsp:sp>
    <dsp:sp modelId="{FD528662-2E78-46C5-AFEC-7596999AE27A}">
      <dsp:nvSpPr>
        <dsp:cNvPr id="0" name=""/>
        <dsp:cNvSpPr/>
      </dsp:nvSpPr>
      <dsp:spPr>
        <a:xfrm>
          <a:off x="0" y="6194571"/>
          <a:ext cx="2105167" cy="408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a:t>Solutions</a:t>
          </a:r>
          <a:endParaRPr lang="en-US" sz="2000" kern="1200" dirty="0"/>
        </a:p>
      </dsp:txBody>
      <dsp:txXfrm>
        <a:off x="0" y="6194571"/>
        <a:ext cx="2105167" cy="408375"/>
      </dsp:txXfrm>
    </dsp:sp>
    <dsp:sp modelId="{017728F1-FB8F-480D-960E-335CD7ADAB3C}">
      <dsp:nvSpPr>
        <dsp:cNvPr id="0" name=""/>
        <dsp:cNvSpPr/>
      </dsp:nvSpPr>
      <dsp:spPr>
        <a:xfrm>
          <a:off x="2105166" y="6169047"/>
          <a:ext cx="421033" cy="459421"/>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201724E-AC5F-494D-BB50-B7D7A454D657}">
      <dsp:nvSpPr>
        <dsp:cNvPr id="0" name=""/>
        <dsp:cNvSpPr/>
      </dsp:nvSpPr>
      <dsp:spPr>
        <a:xfrm>
          <a:off x="2694613" y="6169047"/>
          <a:ext cx="5726054" cy="459421"/>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b="1" kern="1200" dirty="0">
              <a:solidFill>
                <a:srgbClr val="7FBA00">
                  <a:lumMod val="75000"/>
                </a:srgbClr>
              </a:solidFill>
              <a:latin typeface="Segoe UI"/>
              <a:ea typeface="+mn-ea"/>
              <a:cs typeface="+mn-cs"/>
            </a:rPr>
            <a:t>Templates and Gallery</a:t>
          </a:r>
        </a:p>
      </dsp:txBody>
      <dsp:txXfrm>
        <a:off x="2694613" y="6169047"/>
        <a:ext cx="5726054" cy="459421"/>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diagrams.loki3.com/BracketList">
  <dgm:title val="Vertical Bracket List"/>
  <dgm:desc val="Use to show grouped blocks of information.  Works well with large amounts of Level 2 text."/>
  <dgm:catLst>
    <dgm:cat type="list" pri="4110"/>
    <dgm:cat type="officeonline" pri="3000"/>
  </dgm:catLst>
  <dgm:sampData>
    <dgm:dataModel>
      <dgm:ptLst>
        <dgm:pt modelId="0" type="doc"/>
        <dgm:pt modelId="1">
          <dgm:prSet phldr="1"/>
        </dgm:pt>
        <dgm:pt modelId="11">
          <dgm:prSet phldr="1"/>
        </dgm:pt>
        <dgm:pt modelId="2">
          <dgm:prSet phldr="1"/>
        </dgm:pt>
        <dgm:pt modelId="21">
          <dgm:prSet phldr="1"/>
        </dgm:pt>
      </dgm:ptLst>
      <dgm:cxnLst>
        <dgm:cxn modelId="3" srcId="0" destId="1" srcOrd="0" destOrd="0"/>
        <dgm:cxn modelId="4" srcId="1" destId="11" srcOrd="0" destOrd="0"/>
        <dgm:cxn modelId="5" srcId="0" destId="2" srcOrd="0" destOrd="0"/>
        <dgm:cxn modelId="6" srcId="2" destId="21" srcOrd="0" destOrd="0"/>
      </dgm:cxnLst>
      <dgm:bg/>
      <dgm:whole/>
    </dgm:dataModel>
  </dgm:sampData>
  <dgm:styleData useDef="1">
    <dgm:dataModel>
      <dgm:ptLst/>
      <dgm:bg/>
      <dgm:whole/>
    </dgm:dataModel>
  </dgm:styleData>
  <dgm:clrData useDef="1">
    <dgm:dataModel>
      <dgm:pt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V" refType="primFontSz" refFor="des" refForName="parTx" fact="0.1"/>
      <dgm:constr type="primFontSz" for="des" forName="parTx" val="65"/>
      <dgm:constr type="primFontSz" for="des" forName="desTx" refType="primFontSz" refFor="des" refForName="parTx"/>
      <dgm:constr type="h" for="des" forName="parTx" refType="primFontSz" refFor="des" refForName="parTx" fact="0.55"/>
      <dgm:constr type="h" for="des" forName="bracket" refType="primFontSz" refFor="des" refForName="parTx" fact="0.55"/>
      <dgm:constr type="h" for="des" forName="desTx" refType="primFontSz" refFor="des" refForName="parTx" fact="0.55"/>
    </dgm:constrLst>
    <dgm:ruleLst>
      <dgm:rule type="primFontSz" for="des" forName="parTx" val="5" fact="NaN" max="NaN"/>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Tx" refType="w" fact="0.25"/>
          <dgm:constr type="w" for="ch" forName="bracket" refType="w" fact="0.05"/>
          <dgm:constr type="w" for="ch" forName="spH" refType="w" fact="0.02"/>
          <dgm:constr type="w" for="ch" forName="desTx" refType="w" fact="0.68"/>
          <dgm:constr type="h" for="ch" forName="bracket" refType="h" refFor="ch" refForName="desTx" op="gte"/>
          <dgm:constr type="h" for="ch" forName="bracket" refType="h" refFor="ch" refForName="parTx" op="gte"/>
          <dgm:constr type="h" for="ch" forName="desTx" refType="h" refFor="ch" refForName="parTx" op="gte"/>
        </dgm:constrLst>
        <dgm:ruleLst/>
        <dgm:layoutNode name="parTx" styleLbl="revTx">
          <dgm:varLst>
            <dgm:chMax val="1"/>
            <dgm:bulletEnabled val="1"/>
          </dgm:varLst>
          <dgm:choose name="Name8">
            <dgm:if name="Name9" func="var" arg="dir" op="equ" val="norm">
              <dgm:alg type="tx">
                <dgm:param type="parTxLTRAlign" val="r"/>
              </dgm:alg>
            </dgm:if>
            <dgm:else name="Name10">
              <dgm:alg type="tx">
                <dgm:param type="parTxLTRAlign" val="l"/>
              </dgm:alg>
            </dgm:else>
          </dgm:choose>
          <dgm:shape xmlns:r="http://schemas.openxmlformats.org/officeDocument/2006/relationships" type="rect" r:blip="">
            <dgm:adjLst/>
          </dgm:shape>
          <dgm:presOf axis="self" ptType="node"/>
          <dgm:constrLst>
            <dgm:constr type="tMarg" refType="primFontSz" fact="0.2"/>
            <dgm:constr type="bMarg" refType="primFontSz" fact="0.2"/>
          </dgm:constrLst>
          <dgm:ruleLst>
            <dgm:rule type="h" val="INF" fact="NaN" max="NaN"/>
          </dgm:ruleLst>
        </dgm:layoutNode>
        <dgm:layoutNode name="bracket" styleLbl="parChTrans1D1">
          <dgm:alg type="sp"/>
          <dgm:choose name="Name11">
            <dgm:if name="Name12" func="var" arg="dir" op="equ" val="norm">
              <dgm:shape xmlns:r="http://schemas.openxmlformats.org/officeDocument/2006/relationships" type="leftBrace" r:blip="">
                <dgm:adjLst>
                  <dgm:adj idx="1" val="0.35"/>
                </dgm:adjLst>
              </dgm:shape>
            </dgm:if>
            <dgm:else name="Name13">
              <dgm:shape xmlns:r="http://schemas.openxmlformats.org/officeDocument/2006/relationships" rot="180" type="leftBrace" r:blip="">
                <dgm:adjLst>
                  <dgm:adj idx="1" val="0.35"/>
                </dgm:adjLst>
              </dgm:shape>
            </dgm:else>
          </dgm:choose>
          <dgm:presOf/>
        </dgm:layoutNode>
        <dgm:layoutNode name="spH">
          <dgm:alg type="sp"/>
        </dgm:layoutNode>
        <dgm:choose name="Name14">
          <dgm:if name="Name15" axis="ch" ptType="node" func="cnt" op="gte" val="1">
            <dgm:layoutNode name="desTx" styleLbl="node1">
              <dgm:varLst>
                <dgm:bulletEnabled val="1"/>
              </dgm:varLst>
              <dgm:alg type="tx">
                <dgm:param type="stBulletLvl" val="1"/>
                <dgm:param type="txAnchorVertCh" val="mid"/>
              </dgm:alg>
              <dgm:shape xmlns:r="http://schemas.openxmlformats.org/officeDocument/2006/relationships" type="rect" r:blip="">
                <dgm:adjLst/>
              </dgm:shape>
              <dgm:presOf axis="des" ptType="node"/>
              <dgm:constrLst>
                <dgm:constr type="secFontSz" refType="primFontSz"/>
                <dgm:constr type="tMarg" refType="primFontSz" fact="0.3"/>
                <dgm:constr type="bMarg" refType="primFontSz" fact="0.3"/>
                <dgm:constr type="lMarg" refType="primFontSz" fact="0.3"/>
                <dgm:constr type="rMarg" refType="primFontSz" fact="0.3"/>
              </dgm:constrLst>
              <dgm:ruleLst>
                <dgm:rule type="h" val="INF" fact="NaN" max="NaN"/>
              </dgm:ruleLst>
            </dgm:layoutNode>
          </dgm:if>
          <dgm:else name="Name16"/>
        </dgm:choose>
      </dgm:layoutNode>
      <dgm:forEach name="Name17" axis="followSib" ptType="sibTrans" cnt="1">
        <dgm:layoutNode name="spV">
          <dgm:alg type="sp"/>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4.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pic>
        <p:nvPicPr>
          <p:cNvPr id="10" name="Picture 9">
            <a:extLst>
              <a:ext uri="{FF2B5EF4-FFF2-40B4-BE49-F238E27FC236}">
                <a16:creationId xmlns:a16="http://schemas.microsoft.com/office/drawing/2014/main" id="{D93BEA18-33C8-495F-9D0E-9F6A002B0DE9}"/>
              </a:ext>
            </a:extLst>
          </p:cNvPr>
          <p:cNvPicPr>
            <a:picLocks noChangeAspect="1"/>
          </p:cNvPicPr>
          <p:nvPr/>
        </p:nvPicPr>
        <p:blipFill>
          <a:blip r:embed="rId2"/>
          <a:stretch>
            <a:fillRect/>
          </a:stretch>
        </p:blipFill>
        <p:spPr>
          <a:xfrm>
            <a:off x="98408" y="53522"/>
            <a:ext cx="2774983" cy="350156"/>
          </a:xfrm>
          <a:prstGeom prst="rect">
            <a:avLst/>
          </a:prstGeom>
        </p:spPr>
      </p:pic>
      <p:sp>
        <p:nvSpPr>
          <p:cNvPr id="2" name="Date Placeholder 1">
            <a:extLst>
              <a:ext uri="{FF2B5EF4-FFF2-40B4-BE49-F238E27FC236}">
                <a16:creationId xmlns:a16="http://schemas.microsoft.com/office/drawing/2014/main" id="{127CA38F-B0EC-4184-9AD9-98A7EC55F64F}"/>
              </a:ext>
            </a:extLst>
          </p:cNvPr>
          <p:cNvSpPr>
            <a:spLocks noGrp="1"/>
          </p:cNvSpPr>
          <p:nvPr>
            <p:ph type="dt" sz="quarter" idx="1"/>
          </p:nvPr>
        </p:nvSpPr>
        <p:spPr>
          <a:xfrm>
            <a:off x="2973386" y="-794"/>
            <a:ext cx="3884614" cy="458788"/>
          </a:xfrm>
          <a:prstGeom prst="rect">
            <a:avLst/>
          </a:prstGeom>
        </p:spPr>
        <p:txBody>
          <a:bodyPr vert="horz" lIns="91440" tIns="45720" rIns="91440" bIns="45720" rtlCol="0"/>
          <a:lstStyle>
            <a:lvl1pPr algn="r">
              <a:defRPr sz="1200"/>
            </a:lvl1pPr>
          </a:lstStyle>
          <a:p>
            <a:r>
              <a:rPr lang="en-US" dirty="0">
                <a:solidFill>
                  <a:srgbClr val="4472C4"/>
                </a:solidFill>
                <a:latin typeface="Calibri" panose="020F0502020204030204" pitchFamily="34" charset="0"/>
                <a:ea typeface="SimSun" panose="02010600030101010101" pitchFamily="2" charset="-122"/>
                <a:cs typeface="Arial" panose="020B0604020202020204" pitchFamily="34" charset="0"/>
              </a:rPr>
              <a:t>Building Solutions with Microsoft Business Analytics and AI </a:t>
            </a:r>
          </a:p>
          <a:p>
            <a:r>
              <a:rPr lang="en-US" dirty="0">
                <a:solidFill>
                  <a:srgbClr val="4472C4"/>
                </a:solidFill>
                <a:latin typeface="Calibri" panose="020F0502020204030204" pitchFamily="34" charset="0"/>
                <a:ea typeface="SimSun" panose="02010600030101010101" pitchFamily="2" charset="-122"/>
                <a:cs typeface="Arial" panose="020B0604020202020204" pitchFamily="34" charset="0"/>
              </a:rPr>
              <a:t>Business Understanding</a:t>
            </a:r>
            <a:endParaRPr lang="en-US" sz="2800" dirty="0">
              <a:solidFill>
                <a:srgbClr val="4472C4"/>
              </a:solidFill>
            </a:endParaRPr>
          </a:p>
          <a:p>
            <a:endParaRPr lang="en-US" dirty="0"/>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Slide Image Placeholder 8"/>
          <p:cNvSpPr>
            <a:spLocks noGrp="1" noRot="1" noChangeAspect="1"/>
          </p:cNvSpPr>
          <p:nvPr>
            <p:ph type="sldImg" idx="2"/>
          </p:nvPr>
        </p:nvSpPr>
        <p:spPr>
          <a:xfrm>
            <a:off x="381000" y="685800"/>
            <a:ext cx="3199482" cy="1799709"/>
          </a:xfrm>
          <a:prstGeom prst="rect">
            <a:avLst/>
          </a:prstGeom>
          <a:noFill/>
          <a:ln w="12700">
            <a:solidFill>
              <a:prstClr val="black"/>
            </a:solidFill>
          </a:ln>
        </p:spPr>
        <p:txBody>
          <a:bodyPr vert="horz" lIns="91440" tIns="45720" rIns="91440" bIns="45720" rtlCol="0" anchor="ctr"/>
          <a:lstStyle/>
          <a:p>
            <a:endParaRPr lang="en-US" dirty="0"/>
          </a:p>
        </p:txBody>
      </p:sp>
      <p:sp>
        <p:nvSpPr>
          <p:cNvPr id="12" name="Notes Placeholder 11"/>
          <p:cNvSpPr>
            <a:spLocks noGrp="1"/>
          </p:cNvSpPr>
          <p:nvPr>
            <p:ph type="body" sz="quarter" idx="3"/>
          </p:nvPr>
        </p:nvSpPr>
        <p:spPr>
          <a:xfrm>
            <a:off x="380999" y="2588963"/>
            <a:ext cx="6207087" cy="604774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pic>
        <p:nvPicPr>
          <p:cNvPr id="2" name="Picture 1"/>
          <p:cNvPicPr>
            <a:picLocks noChangeAspect="1"/>
          </p:cNvPicPr>
          <p:nvPr/>
        </p:nvPicPr>
        <p:blipFill>
          <a:blip r:embed="rId2"/>
          <a:stretch>
            <a:fillRect/>
          </a:stretch>
        </p:blipFill>
        <p:spPr>
          <a:xfrm>
            <a:off x="381000" y="187552"/>
            <a:ext cx="1926660" cy="243112"/>
          </a:xfrm>
          <a:prstGeom prst="rect">
            <a:avLst/>
          </a:prstGeom>
        </p:spPr>
      </p:pic>
      <p:sp>
        <p:nvSpPr>
          <p:cNvPr id="7" name="Rectangle 6"/>
          <p:cNvSpPr/>
          <p:nvPr/>
        </p:nvSpPr>
        <p:spPr>
          <a:xfrm>
            <a:off x="381000" y="8835527"/>
            <a:ext cx="4689764" cy="276999"/>
          </a:xfrm>
          <a:prstGeom prst="rect">
            <a:avLst/>
          </a:prstGeom>
        </p:spPr>
        <p:txBody>
          <a:bodyPr wrap="square">
            <a:spAutoFit/>
          </a:bodyPr>
          <a:lstStyle/>
          <a:p>
            <a:pPr algn="l"/>
            <a:r>
              <a:rPr lang="en-US" sz="1200" b="0" dirty="0">
                <a:solidFill>
                  <a:schemeClr val="accent6">
                    <a:lumMod val="75000"/>
                  </a:schemeClr>
                </a:solidFill>
                <a:effectLst/>
                <a:latin typeface="Calibri" panose="020F0502020204030204" pitchFamily="34" charset="0"/>
                <a:ea typeface="SimSun" panose="02010600030101010101" pitchFamily="2" charset="-122"/>
                <a:cs typeface="Arial" panose="020B0604020202020204" pitchFamily="34" charset="0"/>
              </a:rPr>
              <a:t>Microsoft Business Analytics and </a:t>
            </a:r>
            <a:r>
              <a:rPr lang="en-US" sz="1200" b="0" dirty="0" err="1">
                <a:solidFill>
                  <a:schemeClr val="accent6">
                    <a:lumMod val="75000"/>
                  </a:schemeClr>
                </a:solidFill>
                <a:effectLst/>
                <a:latin typeface="Calibri" panose="020F0502020204030204" pitchFamily="34" charset="0"/>
                <a:ea typeface="SimSun" panose="02010600030101010101" pitchFamily="2" charset="-122"/>
                <a:cs typeface="Arial" panose="020B0604020202020204" pitchFamily="34" charset="0"/>
              </a:rPr>
              <a:t>AIWorkshop</a:t>
            </a:r>
            <a:r>
              <a:rPr lang="en-US" sz="1200" b="0" dirty="0">
                <a:solidFill>
                  <a:schemeClr val="accent6">
                    <a:lumMod val="75000"/>
                  </a:schemeClr>
                </a:solidFill>
                <a:effectLst/>
                <a:latin typeface="Calibri" panose="020F0502020204030204" pitchFamily="34" charset="0"/>
                <a:ea typeface="SimSun" panose="02010600030101010101" pitchFamily="2" charset="-122"/>
                <a:cs typeface="Arial" panose="020B0604020202020204" pitchFamily="34" charset="0"/>
              </a:rPr>
              <a:t> Class Notebook</a:t>
            </a:r>
            <a:endParaRPr lang="en-US" sz="2800" b="0" dirty="0">
              <a:solidFill>
                <a:schemeClr val="accent6">
                  <a:lumMod val="75000"/>
                </a:schemeClr>
              </a:solidFill>
            </a:endParaRPr>
          </a:p>
        </p:txBody>
      </p:sp>
      <p:sp>
        <p:nvSpPr>
          <p:cNvPr id="8" name="Rectangle 7"/>
          <p:cNvSpPr/>
          <p:nvPr/>
        </p:nvSpPr>
        <p:spPr>
          <a:xfrm>
            <a:off x="2545199" y="96567"/>
            <a:ext cx="4197391" cy="461665"/>
          </a:xfrm>
          <a:prstGeom prst="rect">
            <a:avLst/>
          </a:prstGeom>
        </p:spPr>
        <p:txBody>
          <a:bodyPr wrap="square">
            <a:spAutoFit/>
          </a:bodyPr>
          <a:lstStyle/>
          <a:p>
            <a:pPr algn="r"/>
            <a:r>
              <a:rPr lang="en-US" sz="1200" b="0" dirty="0">
                <a:solidFill>
                  <a:srgbClr val="4472C4"/>
                </a:solidFill>
                <a:effectLst/>
                <a:latin typeface="Calibri" panose="020F0502020204030204" pitchFamily="34" charset="0"/>
                <a:ea typeface="SimSun" panose="02010600030101010101" pitchFamily="2" charset="-122"/>
                <a:cs typeface="Arial" panose="020B0604020202020204" pitchFamily="34" charset="0"/>
              </a:rPr>
              <a:t>Building Solutions with Microsoft Business Analytics and AI – </a:t>
            </a:r>
          </a:p>
          <a:p>
            <a:pPr algn="r"/>
            <a:r>
              <a:rPr lang="en-US" sz="1200" b="0" dirty="0">
                <a:solidFill>
                  <a:srgbClr val="4472C4"/>
                </a:solidFill>
                <a:effectLst/>
                <a:latin typeface="Calibri" panose="020F0502020204030204" pitchFamily="34" charset="0"/>
                <a:ea typeface="SimSun" panose="02010600030101010101" pitchFamily="2" charset="-122"/>
                <a:cs typeface="Arial" panose="020B0604020202020204" pitchFamily="34" charset="0"/>
              </a:rPr>
              <a:t>Business Understanding</a:t>
            </a:r>
            <a:endParaRPr lang="en-US" sz="2800" b="0" dirty="0">
              <a:solidFill>
                <a:srgbClr val="4472C4"/>
              </a:solidFill>
            </a:endParaRPr>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14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14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14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14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14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8" Type="http://schemas.openxmlformats.org/officeDocument/2006/relationships/hyperlink" Target="https://azure.microsoft.com/en-us/services/data-factory/" TargetMode="External"/><Relationship Id="rId3" Type="http://schemas.openxmlformats.org/officeDocument/2006/relationships/hyperlink" Target="https://azure.microsoft.com/en-us/services/cognitive-services/" TargetMode="External"/><Relationship Id="rId7" Type="http://schemas.openxmlformats.org/officeDocument/2006/relationships/hyperlink" Target="https://azure.microsoft.com/en-us/services/machine-learning/" TargetMode="External"/><Relationship Id="rId12" Type="http://schemas.openxmlformats.org/officeDocument/2006/relationships/hyperlink" Target="https://azure.microsoft.com/en-us/services/data-catalog/" TargetMode="External"/><Relationship Id="rId2" Type="http://schemas.openxmlformats.org/officeDocument/2006/relationships/slide" Target="../slides/slide17.xml"/><Relationship Id="rId1" Type="http://schemas.openxmlformats.org/officeDocument/2006/relationships/notesMaster" Target="../notesMasters/notesMaster1.xml"/><Relationship Id="rId6" Type="http://schemas.openxmlformats.org/officeDocument/2006/relationships/hyperlink" Target="https://azure.microsoft.com/en-us/services/hdinsight/" TargetMode="External"/><Relationship Id="rId11" Type="http://schemas.openxmlformats.org/officeDocument/2006/relationships/hyperlink" Target="https://azure.microsoft.com/en-us/services/data-lake-analytics/" TargetMode="External"/><Relationship Id="rId5" Type="http://schemas.openxmlformats.org/officeDocument/2006/relationships/hyperlink" Target="https://azure.microsoft.com/en-us/services/sql-data-warehouse/" TargetMode="External"/><Relationship Id="rId10" Type="http://schemas.openxmlformats.org/officeDocument/2006/relationships/hyperlink" Target="https://azure.microsoft.com/en-us/services/data-lake-store/" TargetMode="External"/><Relationship Id="rId4" Type="http://schemas.openxmlformats.org/officeDocument/2006/relationships/hyperlink" Target="https://azure.microsoft.com/en-us/services/sql-database/" TargetMode="External"/><Relationship Id="rId9" Type="http://schemas.openxmlformats.org/officeDocument/2006/relationships/hyperlink" Target="https://azure.microsoft.com/en-us/services/stream-analytics/" TargetMode="Externa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www.microsoft.com/en-us/cloud-platform/cortana-intelligence-suite-industry-solutions"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Main</a:t>
            </a:r>
            <a:r>
              <a:rPr lang="en-US" sz="1800" baseline="0" dirty="0"/>
              <a:t> </a:t>
            </a:r>
            <a:r>
              <a:rPr lang="en-US" dirty="0"/>
              <a:t>page – https://aka.ms/businessanalyticsandai </a:t>
            </a:r>
            <a:endParaRPr lang="en-US" sz="1800" baseline="0" dirty="0"/>
          </a:p>
          <a:p>
            <a:pPr marL="228600" indent="-228600">
              <a:buFont typeface="+mj-lt"/>
              <a:buAutoNum type="arabicPeriod"/>
            </a:pPr>
            <a:r>
              <a:rPr lang="en-US" sz="1800" baseline="0" dirty="0"/>
              <a:t>To begin this module, you should have: </a:t>
            </a:r>
          </a:p>
          <a:p>
            <a:pPr marL="445862" lvl="1" indent="-228600">
              <a:buFont typeface="+mj-lt"/>
              <a:buAutoNum type="arabicPeriod"/>
            </a:pPr>
            <a:r>
              <a:rPr lang="en-US" sz="1800" baseline="0" dirty="0"/>
              <a:t>Basic Math and Stats skills</a:t>
            </a:r>
          </a:p>
          <a:p>
            <a:pPr marL="445862" lvl="1" indent="-228600">
              <a:buFont typeface="+mj-lt"/>
              <a:buAutoNum type="arabicPeriod"/>
            </a:pPr>
            <a:r>
              <a:rPr lang="en-US" sz="1800" baseline="0" dirty="0"/>
              <a:t>Business and Domain Awareness</a:t>
            </a:r>
          </a:p>
          <a:p>
            <a:pPr marL="445862" lvl="1" indent="-228600">
              <a:buFont typeface="+mj-lt"/>
              <a:buAutoNum type="arabicPeriod"/>
            </a:pPr>
            <a:r>
              <a:rPr lang="en-US" sz="1800" baseline="0" dirty="0"/>
              <a:t>General Computing Background</a:t>
            </a:r>
          </a:p>
          <a:p>
            <a:endParaRPr lang="en-US" sz="180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1800" i="1" baseline="0" dirty="0"/>
              <a:t>NOTE: These workbooks contain many resources to lead you through the course, and provide a rich set of references that you can use to learn much more about these topics. If the links do not resolve properly, type the link address in manually in your web browser. If the links have changed or been removed, simply enter the title of the link in a web search engine to find the new location or a corollary reference. </a:t>
            </a:r>
          </a:p>
          <a:p>
            <a:endParaRPr lang="en-US" sz="1800" dirty="0"/>
          </a:p>
          <a:p>
            <a:endParaRPr lang="en-US" sz="1800" dirty="0"/>
          </a:p>
          <a:p>
            <a:endParaRPr lang="en-IN" dirty="0">
              <a:latin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800" b="0" i="0" u="none" strike="noStrike" kern="0" cap="none" spc="0" normalizeH="0" baseline="0" noProof="0" smtClean="0">
                <a:ln>
                  <a:noFill/>
                </a:ln>
                <a:solidFill>
                  <a:srgbClr val="50505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rgbClr val="505050"/>
              </a:solidFill>
              <a:effectLst/>
              <a:uLnTx/>
              <a:uFillTx/>
              <a:latin typeface="Segoe UI" pitchFamily="34" charset="0"/>
              <a:ea typeface="+mn-ea"/>
              <a:cs typeface="+mn-cs"/>
            </a:endParaRPr>
          </a:p>
        </p:txBody>
      </p:sp>
    </p:spTree>
    <p:extLst>
      <p:ext uri="{BB962C8B-B14F-4D97-AF65-F5344CB8AC3E}">
        <p14:creationId xmlns:p14="http://schemas.microsoft.com/office/powerpoint/2010/main" val="90626367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lvl="0" indent="-228600">
              <a:buFont typeface="+mj-lt"/>
              <a:buAutoNum type="arabicPeriod"/>
              <a:defRPr/>
            </a:pPr>
            <a:r>
              <a:rPr lang="en-US" dirty="0"/>
              <a:t>A discussion of this graphic: https://buckwoody.wordpress.com/2016/05/16/the-cortana-intelligence-suite-what-to-use-when/</a:t>
            </a:r>
            <a:endParaRPr lang="en-US" baseline="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0300547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98813" cy="1800225"/>
          </a:xfrm>
        </p:spPr>
      </p:sp>
      <p:sp>
        <p:nvSpPr>
          <p:cNvPr id="3" name="Notes Placeholder 2"/>
          <p:cNvSpPr>
            <a:spLocks noGrp="1"/>
          </p:cNvSpPr>
          <p:nvPr>
            <p:ph type="body" idx="1"/>
          </p:nvPr>
        </p:nvSpPr>
        <p:spPr/>
        <p:txBody>
          <a:bodyPr/>
          <a:lstStyle/>
          <a:p>
            <a:pPr marL="228600" indent="-228600">
              <a:buFont typeface="+mj-lt"/>
              <a:buAutoNum type="arabicPeriod"/>
            </a:pPr>
            <a:r>
              <a:rPr lang="en-US" baseline="0" dirty="0"/>
              <a:t>Another approach on decision matrices: http://www.businessnewsdaily.com/6146-decision-matrix.html</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79091047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98813" cy="1800225"/>
          </a:xfrm>
        </p:spPr>
      </p:sp>
      <p:sp>
        <p:nvSpPr>
          <p:cNvPr id="3" name="Notes Placeholder 2"/>
          <p:cNvSpPr>
            <a:spLocks noGrp="1"/>
          </p:cNvSpPr>
          <p:nvPr>
            <p:ph type="body" idx="1"/>
          </p:nvPr>
        </p:nvSpPr>
        <p:spPr/>
        <p:txBody>
          <a:bodyPr/>
          <a:lstStyle/>
          <a:p>
            <a:pPr marL="228600" indent="-228600">
              <a:buFont typeface="+mj-lt"/>
              <a:buAutoNum type="arabicPeriod"/>
            </a:pPr>
            <a:r>
              <a:rPr lang="en-US" baseline="0" dirty="0"/>
              <a:t>Full description is here: https://github.com/Azure/itanomalyinsights-cortana-intelligence-preconfigured-solution/blob/master/Docs/IT%20Anomaly%20Insights%20Post%20Deployment%20Instructions.md </a:t>
            </a:r>
          </a:p>
          <a:p>
            <a:pPr marL="228600" indent="-228600">
              <a:buFont typeface="+mj-lt"/>
              <a:buAutoNum type="arabicPeriod"/>
            </a:pPr>
            <a:r>
              <a:rPr lang="en-US" baseline="0" dirty="0"/>
              <a:t>Create your own Solution Templates: https://start.cortanaintelligence.com/CustomSolutions</a:t>
            </a:r>
          </a:p>
          <a:p>
            <a:pPr marL="228600" indent="-228600">
              <a:buFont typeface="+mj-lt"/>
              <a:buAutoNum type="arabicPeriod"/>
            </a:pPr>
            <a:r>
              <a:rPr lang="en-US" baseline="0" dirty="0"/>
              <a:t>More solution tutorials: https://gallery.cortanaintelligence.com/browse?categories=%5B%227%22%5D&amp;skip=0&amp;orderby=trending%20desc&amp;tags=%5B%22Solution%22%5D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98412565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98813" cy="1800225"/>
          </a:xfrm>
        </p:spPr>
      </p:sp>
      <p:sp>
        <p:nvSpPr>
          <p:cNvPr id="3" name="Notes Placeholder 2"/>
          <p:cNvSpPr>
            <a:spLocks noGrp="1"/>
          </p:cNvSpPr>
          <p:nvPr>
            <p:ph type="body" idx="1"/>
          </p:nvPr>
        </p:nvSpPr>
        <p:spPr>
          <a:xfrm>
            <a:off x="381000" y="2633031"/>
            <a:ext cx="6096000" cy="5825169"/>
          </a:xfrm>
        </p:spPr>
        <p:txBody>
          <a:bodyPr/>
          <a:lstStyle/>
          <a:p>
            <a:pPr marL="342900" indent="-342900">
              <a:buFont typeface="+mj-lt"/>
              <a:buAutoNum type="arabicPeriod"/>
            </a:pPr>
            <a:r>
              <a:rPr lang="en-US" dirty="0"/>
              <a:t>Data Validation: https://msdn.microsoft.com/en-us/library/aa291820(v=vs.71).aspx</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2352703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19113" y="744538"/>
            <a:ext cx="2671762" cy="1503362"/>
          </a:xfrm>
        </p:spPr>
      </p:sp>
      <p:sp>
        <p:nvSpPr>
          <p:cNvPr id="3" name="Notes Placeholder 2"/>
          <p:cNvSpPr>
            <a:spLocks noGrp="1"/>
          </p:cNvSpPr>
          <p:nvPr>
            <p:ph type="body" idx="1"/>
          </p:nvPr>
        </p:nvSpPr>
        <p:spPr>
          <a:xfrm>
            <a:off x="525450" y="2412694"/>
            <a:ext cx="5875350" cy="6045506"/>
          </a:xfrm>
        </p:spPr>
        <p:txBody>
          <a:bodyPr/>
          <a:lstStyle/>
          <a:p>
            <a:r>
              <a:rPr lang="en-US" dirty="0"/>
              <a:t>1.  In reference to machine learning, but applicable to all data usage: https://azure.microsoft.com/en-us/documentation/articles/machine-learning-data-science-prepare-data/</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07328AF-CB56-472B-9A4E-CEB6EDD5FBF3}"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66559502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19113" y="744538"/>
            <a:ext cx="2925641" cy="1646122"/>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Full example: https://azure.microsoft.com/en-us/documentation/articles/data-catalog-get-started/</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4870517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98813" cy="1800225"/>
          </a:xfrm>
        </p:spPr>
      </p:sp>
      <p:sp>
        <p:nvSpPr>
          <p:cNvPr id="3" name="Notes Placeholder 2"/>
          <p:cNvSpPr>
            <a:spLocks noGrp="1"/>
          </p:cNvSpPr>
          <p:nvPr>
            <p:ph type="body" idx="1"/>
          </p:nvPr>
        </p:nvSpPr>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kern="1200" dirty="0">
                <a:solidFill>
                  <a:schemeClr val="tx1"/>
                </a:solidFill>
                <a:latin typeface="Segoe UI Light" pitchFamily="34" charset="0"/>
                <a:ea typeface="+mn-ea"/>
                <a:cs typeface="+mn-cs"/>
              </a:rPr>
              <a:t>Open this dataset: https://github.com/Azure/itanomalyinsights-cortana-intelligence-preconfigured-solution/blob/master/Samples/Data-Generator/ADGeneratorData/addemo_input_v1.csv</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kern="1200" dirty="0">
                <a:solidFill>
                  <a:schemeClr val="tx1"/>
                </a:solidFill>
                <a:latin typeface="Segoe UI Light" pitchFamily="34" charset="0"/>
                <a:ea typeface="+mn-ea"/>
                <a:cs typeface="+mn-cs"/>
              </a:rPr>
              <a:t>Note these headings</a:t>
            </a:r>
            <a:r>
              <a:rPr lang="en-US" dirty="0"/>
              <a:t>: </a:t>
            </a:r>
          </a:p>
          <a:p>
            <a:pPr lvl="0">
              <a:defRPr/>
            </a:pPr>
            <a:endParaRPr lang="en-US" sz="1200" dirty="0">
              <a:solidFill>
                <a:schemeClr val="accent3">
                  <a:lumMod val="50000"/>
                </a:schemeClr>
              </a:solidFill>
            </a:endParaRPr>
          </a:p>
          <a:p>
            <a:pPr lvl="0">
              <a:defRPr/>
            </a:pPr>
            <a:r>
              <a:rPr lang="en-US" sz="1200" dirty="0">
                <a:solidFill>
                  <a:schemeClr val="accent3">
                    <a:lumMod val="50000"/>
                  </a:schemeClr>
                </a:solidFill>
              </a:rPr>
              <a:t>"Time"        :  DATETIME     (required) "The timestamp of the event in UTC or UNIX timestamp format (Seconds since Epoch)",</a:t>
            </a:r>
          </a:p>
          <a:p>
            <a:pPr lvl="0">
              <a:defRPr/>
            </a:pPr>
            <a:r>
              <a:rPr lang="en-US" sz="1200" dirty="0">
                <a:solidFill>
                  <a:schemeClr val="accent3">
                    <a:lumMod val="50000"/>
                  </a:schemeClr>
                </a:solidFill>
              </a:rPr>
              <a:t>"Value"       :  FLOAT        (required) "The metric value of the event",</a:t>
            </a:r>
          </a:p>
          <a:p>
            <a:pPr lvl="0">
              <a:defRPr/>
            </a:pPr>
            <a:r>
              <a:rPr lang="en-US" sz="1200" dirty="0">
                <a:solidFill>
                  <a:schemeClr val="accent3">
                    <a:lumMod val="50000"/>
                  </a:schemeClr>
                </a:solidFill>
              </a:rPr>
              <a:t>"Metric"      :  VARCHAR(500) (required) "The unique identifier of a particular time series",</a:t>
            </a:r>
          </a:p>
          <a:p>
            <a:pPr lvl="0">
              <a:defRPr/>
            </a:pPr>
            <a:r>
              <a:rPr lang="en-US" sz="1200" dirty="0">
                <a:solidFill>
                  <a:schemeClr val="accent3">
                    <a:lumMod val="50000"/>
                  </a:schemeClr>
                </a:solidFill>
              </a:rPr>
              <a:t>"Host"        :  VARCHAR(100) (required) "The name of the host where the event is fired",</a:t>
            </a:r>
          </a:p>
          <a:p>
            <a:pPr lvl="0">
              <a:defRPr/>
            </a:pPr>
            <a:r>
              <a:rPr lang="en-US" sz="1200" dirty="0">
                <a:solidFill>
                  <a:schemeClr val="accent3">
                    <a:lumMod val="50000"/>
                  </a:schemeClr>
                </a:solidFill>
              </a:rPr>
              <a:t>"Region"      :  VARCHAR(100) (optional) "The region where the event occurs; can be empty",</a:t>
            </a:r>
          </a:p>
          <a:p>
            <a:pPr lvl="0">
              <a:defRPr/>
            </a:pPr>
            <a:r>
              <a:rPr lang="en-US" sz="1200" dirty="0">
                <a:solidFill>
                  <a:schemeClr val="accent3">
                    <a:lumMod val="50000"/>
                  </a:schemeClr>
                </a:solidFill>
              </a:rPr>
              <a:t>"Scenario"    :  VARCHAR(100) (optional) "The scenario to which the event belongs to, can be empty,</a:t>
            </a:r>
          </a:p>
          <a:p>
            <a:pPr lvl="0">
              <a:defRPr/>
            </a:pPr>
            <a:r>
              <a:rPr lang="en-US" sz="1200" dirty="0">
                <a:solidFill>
                  <a:schemeClr val="accent3">
                    <a:lumMod val="50000"/>
                  </a:schemeClr>
                </a:solidFill>
              </a:rPr>
              <a:t>"Category"    :  VARCHAR(100) (optional) "The category associated with the event; can be empty",</a:t>
            </a:r>
          </a:p>
          <a:p>
            <a:pPr lvl="0">
              <a:defRPr/>
            </a:pPr>
            <a:r>
              <a:rPr lang="en-US" sz="1200" dirty="0">
                <a:solidFill>
                  <a:schemeClr val="accent3">
                    <a:lumMod val="50000"/>
                  </a:schemeClr>
                </a:solidFill>
              </a:rPr>
              <a:t>"Application" :  VARCHAR(500) (optional) "Originating application of the event; can be empty“</a:t>
            </a:r>
          </a:p>
          <a:p>
            <a:pPr lvl="0">
              <a:defRPr/>
            </a:pPr>
            <a:endParaRPr lang="en-US" sz="1200" dirty="0">
              <a:solidFill>
                <a:schemeClr val="accent3">
                  <a:lumMod val="50000"/>
                </a:schemeClr>
              </a:solidFill>
            </a:endParaRPr>
          </a:p>
          <a:p>
            <a:pPr lvl="0">
              <a:defRPr/>
            </a:pPr>
            <a:r>
              <a:rPr lang="en-US" sz="1200" dirty="0">
                <a:solidFill>
                  <a:schemeClr val="accent3">
                    <a:lumMod val="50000"/>
                  </a:schemeClr>
                </a:solidFill>
              </a:rPr>
              <a:t>3. Open this</a:t>
            </a:r>
            <a:r>
              <a:rPr lang="en-US" sz="1200" baseline="0" dirty="0">
                <a:solidFill>
                  <a:schemeClr val="accent3">
                    <a:lumMod val="50000"/>
                  </a:schemeClr>
                </a:solidFill>
              </a:rPr>
              <a:t> report reference: https://gallery.cortanaintelligence.com/Solution/Anomaly-Detection-in-Real-time-Data-Streams</a:t>
            </a:r>
          </a:p>
          <a:p>
            <a:pPr lvl="0">
              <a:defRPr/>
            </a:pPr>
            <a:r>
              <a:rPr lang="en-US" sz="1200" baseline="0" dirty="0">
                <a:solidFill>
                  <a:schemeClr val="accent3">
                    <a:lumMod val="50000"/>
                  </a:schemeClr>
                </a:solidFill>
              </a:rPr>
              <a:t>4. Follow the instructions from the teacher</a:t>
            </a:r>
            <a:endParaRPr lang="en-US" sz="1200" dirty="0">
              <a:solidFill>
                <a:schemeClr val="accent3">
                  <a:lumMod val="50000"/>
                </a:schemeClr>
              </a:solidFill>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47715449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98813" cy="1800225"/>
          </a:xfrm>
        </p:spPr>
      </p:sp>
      <p:sp>
        <p:nvSpPr>
          <p:cNvPr id="3" name="Notes Placeholder 2"/>
          <p:cNvSpPr>
            <a:spLocks noGrp="1"/>
          </p:cNvSpPr>
          <p:nvPr>
            <p:ph type="body" idx="1"/>
          </p:nvPr>
        </p:nvSpPr>
        <p:spPr/>
        <p:txBody>
          <a:bodyPr/>
          <a:lstStyle/>
          <a:p>
            <a:endParaRPr lang="en-US"/>
          </a:p>
          <a:p>
            <a:r>
              <a:rPr lang="en-US" b="1" dirty="0"/>
              <a:t>Easily build and deploy anywhere</a:t>
            </a:r>
          </a:p>
          <a:p>
            <a:r>
              <a:rPr lang="en-US" dirty="0"/>
              <a:t>Use existing skillsets and tools you know and love to build intelligent apps and deploy without a change in code. Build once, deploy anywhere: in the cloud, on premises, and to edge devices, with the confidence of global distribution to more data centers than any other provider.</a:t>
            </a:r>
          </a:p>
          <a:p>
            <a:endParaRPr lang="en-US" dirty="0"/>
          </a:p>
          <a:p>
            <a:r>
              <a:rPr lang="en-US" b="1" dirty="0"/>
              <a:t>An open platform</a:t>
            </a:r>
          </a:p>
          <a:p>
            <a:r>
              <a:rPr lang="en-US" dirty="0"/>
              <a:t>Choose your favorite technologies, including open source. Azure supports a range of deployment options, popular stacks and languages, and a comprehensive set of data engines. Capitalize on this flexibility, plus the performance, scale, and security delivered by Microsoft technologies to build apps for any scenario.</a:t>
            </a:r>
          </a:p>
          <a:p>
            <a:endParaRPr lang="en-US" dirty="0"/>
          </a:p>
          <a:p>
            <a:r>
              <a:rPr lang="en-US" b="1" dirty="0"/>
              <a:t>Develop apps with built-in intelligence</a:t>
            </a:r>
          </a:p>
          <a:p>
            <a:r>
              <a:rPr lang="en-US" dirty="0"/>
              <a:t>Building intelligent apps using Azure is easy, because no other platform brings analytics and native AI to your data wherever it lives and in the languages you use. Take advantage of a rich set of </a:t>
            </a:r>
            <a:r>
              <a:rPr lang="en-US" dirty="0">
                <a:hlinkClick r:id="rId3"/>
              </a:rPr>
              <a:t>cognitive APIs</a:t>
            </a:r>
            <a:r>
              <a:rPr lang="en-US" dirty="0"/>
              <a:t> to easily build new experiences into your apps for human-like intelligence.</a:t>
            </a:r>
          </a:p>
          <a:p>
            <a:endParaRPr lang="en-US" dirty="0"/>
          </a:p>
          <a:p>
            <a:endParaRPr lang="en-US" dirty="0"/>
          </a:p>
          <a:p>
            <a:r>
              <a:rPr lang="en-US" b="1" dirty="0">
                <a:effectLst/>
                <a:hlinkClick r:id="rId4"/>
              </a:rPr>
              <a:t>SQL Database</a:t>
            </a:r>
          </a:p>
          <a:p>
            <a:r>
              <a:rPr lang="en-US" dirty="0"/>
              <a:t>Built for developers, SQL Database is a relational database management system with enterprise-class availability, scalability, and security, and built-in intelligence capable of learning app patterns, that can be accessed from anywhere in the world.</a:t>
            </a:r>
          </a:p>
          <a:p>
            <a:endParaRPr lang="en-US" dirty="0"/>
          </a:p>
          <a:p>
            <a:r>
              <a:rPr lang="en-US" b="1" dirty="0">
                <a:effectLst/>
                <a:hlinkClick r:id="rId5"/>
              </a:rPr>
              <a:t>SQL Data Warehouse</a:t>
            </a:r>
          </a:p>
          <a:p>
            <a:r>
              <a:rPr lang="en-US" dirty="0"/>
              <a:t>Scale compute and storage independently with this SQL-based, fully managed, petabyte-scale cloud data warehouse that’s highly elastic and enables you to set up in minutes and scale capacity in seconds.</a:t>
            </a:r>
          </a:p>
          <a:p>
            <a:endParaRPr lang="en-US" dirty="0"/>
          </a:p>
          <a:p>
            <a:r>
              <a:rPr lang="en-US" b="1" dirty="0">
                <a:effectLst/>
                <a:hlinkClick r:id="rId6"/>
              </a:rPr>
              <a:t>HDInsight</a:t>
            </a:r>
          </a:p>
          <a:p>
            <a:r>
              <a:rPr lang="en-US" dirty="0"/>
              <a:t>A fully managed cloud Hadoop and Spark service, HDInsight provides open source analytic clusters for Spark, Hive, MapReduce, HBase, Storm, Kafka, and Microsoft R Server backed by a 99.9% SLA.</a:t>
            </a:r>
          </a:p>
          <a:p>
            <a:endParaRPr lang="en-US" dirty="0"/>
          </a:p>
          <a:p>
            <a:r>
              <a:rPr lang="en-US" b="1" dirty="0">
                <a:effectLst/>
                <a:hlinkClick r:id="rId7"/>
              </a:rPr>
              <a:t>Machine Learning</a:t>
            </a:r>
          </a:p>
          <a:p>
            <a:r>
              <a:rPr lang="en-US" dirty="0"/>
              <a:t>Easily build, deploy, and manage predictive analytics solutions with this fully managed cloud service and deploy your model into production as a web service in minutes that can be called from any device, anywhere.</a:t>
            </a:r>
          </a:p>
          <a:p>
            <a:endParaRPr lang="en-US" dirty="0"/>
          </a:p>
          <a:p>
            <a:r>
              <a:rPr lang="en-US" b="1" dirty="0">
                <a:effectLst/>
                <a:hlinkClick r:id="rId8"/>
              </a:rPr>
              <a:t>Data Factory</a:t>
            </a:r>
          </a:p>
          <a:p>
            <a:r>
              <a:rPr lang="en-US" dirty="0"/>
              <a:t>Compose and manage data services at scale with this globally deployed data movement service in the cloud that connects to on-premises and cloud data sources.</a:t>
            </a:r>
          </a:p>
          <a:p>
            <a:endParaRPr lang="en-US" dirty="0"/>
          </a:p>
          <a:p>
            <a:r>
              <a:rPr lang="en-US" b="1" dirty="0">
                <a:effectLst/>
                <a:hlinkClick r:id="rId9"/>
              </a:rPr>
              <a:t>Stream Analytics</a:t>
            </a:r>
          </a:p>
          <a:p>
            <a:r>
              <a:rPr lang="en-US" dirty="0"/>
              <a:t>Develop and run massively parallel real-time analytics on multiple streams of data with this analytics service that helps uncover real-time insights from devices, sensors, infrastructure, and applications</a:t>
            </a:r>
          </a:p>
          <a:p>
            <a:endParaRPr lang="en-US" dirty="0"/>
          </a:p>
          <a:p>
            <a:r>
              <a:rPr lang="en-US" b="1" dirty="0">
                <a:effectLst/>
                <a:hlinkClick r:id="rId10"/>
              </a:rPr>
              <a:t>Data Lake Store</a:t>
            </a:r>
          </a:p>
          <a:p>
            <a:r>
              <a:rPr lang="en-US" dirty="0"/>
              <a:t>Built to the open HDFS standard, this is a no-limits cloud data lake for your enterprise’s unstructured, semi-structured, and structured data that’s massively scalable and secured, and allows you to run massively parallel analytics.</a:t>
            </a:r>
          </a:p>
          <a:p>
            <a:endParaRPr lang="en-US" dirty="0"/>
          </a:p>
          <a:p>
            <a:r>
              <a:rPr lang="en-US" b="1" dirty="0">
                <a:effectLst/>
                <a:hlinkClick r:id="rId11"/>
              </a:rPr>
              <a:t>Data Lake Analytics</a:t>
            </a:r>
          </a:p>
          <a:p>
            <a:r>
              <a:rPr lang="en-US" dirty="0"/>
              <a:t>Develop and run massively parallel data transformation and processing programs in U-SQL, R, Python, and Microsoft .NET over petabytes of data with this on-demand service that provides a simple, scalable way to analyze big data—in seconds.</a:t>
            </a:r>
          </a:p>
          <a:p>
            <a:endParaRPr lang="en-US" dirty="0"/>
          </a:p>
          <a:p>
            <a:r>
              <a:rPr lang="en-US" b="1" dirty="0">
                <a:effectLst/>
                <a:hlinkClick r:id="rId12"/>
              </a:rPr>
              <a:t>Data Catalog</a:t>
            </a:r>
          </a:p>
          <a:p>
            <a:r>
              <a:rPr lang="en-US" dirty="0"/>
              <a:t>Spend less time looking for data and more time getting value from it with this fully managed cloud service that lets you register, enrich, discover, understand, and consume your enterprise data sources.</a:t>
            </a:r>
          </a:p>
          <a:p>
            <a:endParaRPr lang="en-US" dirty="0"/>
          </a:p>
          <a:p>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8/2017 2:1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4223858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5340350" cy="3003550"/>
          </a:xfrm>
        </p:spPr>
      </p:sp>
      <p:sp>
        <p:nvSpPr>
          <p:cNvPr id="3" name="Notes Placeholder 2"/>
          <p:cNvSpPr>
            <a:spLocks noGrp="1"/>
          </p:cNvSpPr>
          <p:nvPr>
            <p:ph type="body" idx="1"/>
          </p:nvPr>
        </p:nvSpPr>
        <p:spPr>
          <a:xfrm>
            <a:off x="381000" y="3888275"/>
            <a:ext cx="6269182" cy="4909361"/>
          </a:xfrm>
        </p:spPr>
        <p:txBody>
          <a:bodyPr/>
          <a:lstStyle/>
          <a:p>
            <a:endParaRPr lang="en-US" sz="1600"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3087082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98813" cy="180022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At the</a:t>
            </a:r>
            <a:r>
              <a:rPr lang="en-US" baseline="0" dirty="0"/>
              <a:t> end of this Module, you will:</a:t>
            </a:r>
          </a:p>
          <a:p>
            <a:pPr marL="445862" lvl="1" indent="-228600">
              <a:buFont typeface="+mj-lt"/>
              <a:buAutoNum type="arabicPeriod"/>
            </a:pPr>
            <a:r>
              <a:rPr lang="en-US" baseline="0" dirty="0"/>
              <a:t>Determine questions from Business Requirements</a:t>
            </a:r>
          </a:p>
          <a:p>
            <a:pPr marL="445862" lvl="1" indent="-228600">
              <a:buFont typeface="+mj-lt"/>
              <a:buAutoNum type="arabicPeriod"/>
            </a:pPr>
            <a:r>
              <a:rPr lang="en-US" baseline="0" dirty="0"/>
              <a:t>Locate and document data sources for Advanced Analytics</a:t>
            </a:r>
          </a:p>
          <a:p>
            <a:pPr marL="445862" lvl="1" indent="-228600">
              <a:buFont typeface="+mj-lt"/>
              <a:buAutoNum type="arabicPeriod"/>
            </a:pPr>
            <a:r>
              <a:rPr lang="en-US" baseline="0" dirty="0"/>
              <a:t>Use patterns to create Solution Frameworks</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1597774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98813" cy="1800225"/>
          </a:xfrm>
        </p:spPr>
      </p:sp>
      <p:sp>
        <p:nvSpPr>
          <p:cNvPr id="3" name="Notes Placeholder 2"/>
          <p:cNvSpPr>
            <a:spLocks noGrp="1"/>
          </p:cNvSpPr>
          <p:nvPr>
            <p:ph type="body" idx="1"/>
          </p:nvPr>
        </p:nvSpPr>
        <p:spPr/>
        <p:txBody>
          <a:bodyPr/>
          <a:lstStyle/>
          <a:p>
            <a:pPr marL="228600" lvl="0" indent="-228600">
              <a:buFont typeface="+mj-lt"/>
              <a:buAutoNum type="arabicPeriod"/>
            </a:pPr>
            <a:r>
              <a:rPr lang="en-US" dirty="0">
                <a:solidFill>
                  <a:prstClr val="black"/>
                </a:solidFill>
              </a:rPr>
              <a:t>This process largely follows the CRISP-DM model -  http://www.sv-europe.com/crisp-dm-methodology/</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BD414F0-F277-4E0B-80A8-3A8C68434D42}"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1228580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It also references the Microsoft Business Analytics and AI process -  https://azure.microsoft.com/en-us/documentation/articles/data-science-process-overview/</a:t>
            </a:r>
          </a:p>
          <a:p>
            <a:pPr marL="228600" indent="-228600">
              <a:buFont typeface="+mj-lt"/>
              <a:buAutoNum type="arabicPeriod"/>
            </a:pPr>
            <a:r>
              <a:rPr lang="en-US" dirty="0"/>
              <a:t>A complete process diagram</a:t>
            </a:r>
            <a:r>
              <a:rPr lang="en-US" baseline="0" dirty="0"/>
              <a:t> is here - </a:t>
            </a:r>
            <a:r>
              <a:rPr lang="en-US" dirty="0"/>
              <a:t> https://azure.microsoft.com/en-us/documentation/learning-paths/cortana-analytics-process/</a:t>
            </a:r>
          </a:p>
          <a:p>
            <a:pPr marL="228600" indent="-228600">
              <a:buFont typeface="+mj-lt"/>
              <a:buAutoNum type="arabicPeriod"/>
            </a:pPr>
            <a:r>
              <a:rPr lang="en-US" dirty="0"/>
              <a:t>Some walkthrough’s of the various services -  https://azure.microsoft.com/en-us/documentation/articles/data-science-process-walkthroughs/</a:t>
            </a:r>
          </a:p>
          <a:p>
            <a:pPr marL="228600" indent="-228600">
              <a:buFont typeface="+mj-lt"/>
              <a:buAutoNum type="arabicPeriod"/>
            </a:pPr>
            <a:r>
              <a:rPr lang="en-US" dirty="0"/>
              <a:t>A</a:t>
            </a:r>
            <a:r>
              <a:rPr lang="en-US" baseline="0" dirty="0"/>
              <a:t>n integrated process and toolset allows for a more close-to-intent deployment</a:t>
            </a:r>
          </a:p>
          <a:p>
            <a:pPr marL="228600" indent="-228600">
              <a:buFont typeface="+mj-lt"/>
              <a:buAutoNum type="arabicPeriod"/>
            </a:pPr>
            <a:r>
              <a:rPr lang="en-US" baseline="0" dirty="0"/>
              <a:t>Iterations are required to close in on the solution – but are harder to manage and monitor</a:t>
            </a:r>
            <a:endParaRPr lang="en-US" dirty="0"/>
          </a:p>
          <a:p>
            <a:pPr marL="228600" indent="-228600">
              <a:buFont typeface="+mj-lt"/>
              <a:buAutoNum type="arabicPeriod"/>
            </a:pPr>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 https://buckwoody.wordpress.com/</a:t>
            </a:r>
          </a:p>
        </p:txBody>
      </p:sp>
    </p:spTree>
    <p:extLst>
      <p:ext uri="{BB962C8B-B14F-4D97-AF65-F5344CB8AC3E}">
        <p14:creationId xmlns:p14="http://schemas.microsoft.com/office/powerpoint/2010/main" val="35536021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98813" cy="1800225"/>
          </a:xfrm>
        </p:spPr>
      </p:sp>
      <p:sp>
        <p:nvSpPr>
          <p:cNvPr id="3" name="Notes Placeholder 2"/>
          <p:cNvSpPr>
            <a:spLocks noGrp="1"/>
          </p:cNvSpPr>
          <p:nvPr>
            <p:ph type="body" idx="1"/>
          </p:nvPr>
        </p:nvSpPr>
        <p:spPr>
          <a:xfrm>
            <a:off x="274320" y="2599981"/>
            <a:ext cx="6297930" cy="6212549"/>
          </a:xfrm>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Azure Data Catalog - http://azure.microsoft.com/en-us/services/data-catalog </a:t>
            </a:r>
            <a:r>
              <a:rPr lang="en-US" b="1" dirty="0"/>
              <a:t>(Doc I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Azure Data Factory - http://azure.microsoft.com/en-us/services/data-factory/ </a:t>
            </a:r>
            <a:r>
              <a:rPr lang="en-US" b="1" dirty="0"/>
              <a:t>(Move I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Azure Event Hubs - http://azure.microsoft.com/en-us/services/event-hubs/ </a:t>
            </a:r>
            <a:r>
              <a:rPr lang="en-US" b="1" dirty="0"/>
              <a:t>(Bring It)</a:t>
            </a:r>
          </a:p>
          <a:p>
            <a:pPr marL="228600" indent="-228600">
              <a:buFont typeface="+mj-lt"/>
              <a:buAutoNum type="arabicPeriod"/>
            </a:pPr>
            <a:r>
              <a:rPr lang="en-US" dirty="0"/>
              <a:t>Platform and Storage - Microsoft Azure – http://microsoftazure.com Storage - https://azure.microsoft.com/en-us/documentation/services/storage/ </a:t>
            </a:r>
            <a:r>
              <a:rPr lang="en-US" b="1" dirty="0"/>
              <a:t>(Host It)</a:t>
            </a:r>
          </a:p>
          <a:p>
            <a:pPr marL="228600" indent="-228600">
              <a:buFont typeface="+mj-lt"/>
              <a:buAutoNum type="arabicPeriod"/>
            </a:pPr>
            <a:r>
              <a:rPr lang="en-US" dirty="0"/>
              <a:t>Azure Data Lake - http://azure.microsoft.com/en-us/campaigns/data-lake/ </a:t>
            </a:r>
            <a:r>
              <a:rPr lang="en-US" b="1" dirty="0"/>
              <a:t>(Store It)</a:t>
            </a:r>
          </a:p>
          <a:p>
            <a:pPr marL="228600" indent="-228600">
              <a:buFont typeface="+mj-lt"/>
              <a:buAutoNum type="arabicPeriod"/>
            </a:pPr>
            <a:r>
              <a:rPr lang="en-US" dirty="0"/>
              <a:t>Azure SQL Data Warehouse - http://azure.microsoft.com/en-us/services/sql-data-warehouse/ </a:t>
            </a:r>
            <a:r>
              <a:rPr lang="en-US" b="1" dirty="0"/>
              <a:t>(Relate It)</a:t>
            </a:r>
          </a:p>
          <a:p>
            <a:pPr marL="228600" indent="-228600">
              <a:buFont typeface="+mj-lt"/>
              <a:buAutoNum type="arabicPeriod"/>
            </a:pPr>
            <a:r>
              <a:rPr lang="en-US" dirty="0"/>
              <a:t>Azure Cosmos DB - https://docs.microsoft.com/en-us/azure/cosmos-db/introduction</a:t>
            </a:r>
            <a:endParaRPr lang="en-US" b="1" dirty="0"/>
          </a:p>
          <a:p>
            <a:pPr marL="228600" indent="-228600">
              <a:buFont typeface="+mj-lt"/>
              <a:buAutoNum type="arabicPeriod"/>
            </a:pPr>
            <a:r>
              <a:rPr lang="en-US" dirty="0"/>
              <a:t>Cortana - http://blogs.windows.com/buildingapps/2014/09/23/cortana-integration-and-speech-recognition-new-code-samples/ and https://blogs.windows.com/buildingapps/2015/08/25/using-cortana-to-interact-with-your-customers-10-by-10/ and https://developer.microsoft.com/en-us/Cortana </a:t>
            </a:r>
            <a:r>
              <a:rPr lang="en-US" b="1" dirty="0"/>
              <a:t>(Say It)</a:t>
            </a:r>
            <a:endParaRPr lang="en-US" b="0" dirty="0"/>
          </a:p>
          <a:p>
            <a:pPr marL="228600" indent="-228600">
              <a:buFont typeface="+mj-lt"/>
              <a:buAutoNum type="arabicPeriod"/>
            </a:pPr>
            <a:r>
              <a:rPr lang="en-US" b="0" dirty="0"/>
              <a:t>Cognitive Services</a:t>
            </a:r>
            <a:r>
              <a:rPr lang="en-US" dirty="0"/>
              <a:t> - https://www.microsoft.com/cognitive-services</a:t>
            </a:r>
            <a:endParaRPr lang="en-US" b="0" dirty="0"/>
          </a:p>
          <a:p>
            <a:pPr marL="228600" indent="-228600">
              <a:buFont typeface="+mj-lt"/>
              <a:buAutoNum type="arabicPeriod"/>
            </a:pPr>
            <a:r>
              <a:rPr lang="en-US" b="0" dirty="0"/>
              <a:t>Bot Framework</a:t>
            </a:r>
            <a:r>
              <a:rPr lang="en-US" dirty="0"/>
              <a:t> - https://dev.botframework.com/</a:t>
            </a:r>
            <a:endParaRPr lang="en-US" b="0" dirty="0"/>
          </a:p>
          <a:p>
            <a:pPr marL="228600" indent="-228600">
              <a:buFont typeface="+mj-lt"/>
              <a:buAutoNum type="arabicPeriod"/>
            </a:pPr>
            <a:r>
              <a:rPr lang="en-US" dirty="0"/>
              <a:t>Azure Machine Learning - http://azure.microsoft.com/en-us/services/machine-learning/ </a:t>
            </a:r>
            <a:r>
              <a:rPr lang="en-US" b="1" dirty="0"/>
              <a:t>(Learn It)</a:t>
            </a:r>
          </a:p>
          <a:p>
            <a:pPr marL="228600" indent="-228600">
              <a:buFont typeface="+mj-lt"/>
              <a:buAutoNum type="arabicPeriod"/>
            </a:pPr>
            <a:r>
              <a:rPr lang="en-US" dirty="0"/>
              <a:t>Azure HDInsight - http://azure.microsoft.com/en-us/services/hdinsight/ </a:t>
            </a:r>
            <a:r>
              <a:rPr lang="en-US" b="1" dirty="0"/>
              <a:t>(Scale It)</a:t>
            </a:r>
          </a:p>
          <a:p>
            <a:pPr marL="228600" indent="-228600">
              <a:buFont typeface="+mj-lt"/>
              <a:buAutoNum type="arabicPeriod"/>
            </a:pPr>
            <a:r>
              <a:rPr lang="en-US" dirty="0"/>
              <a:t>Azure Stream Analytics - http://azure.microsoft.com/en-us/services/stream-analytics/ </a:t>
            </a:r>
            <a:r>
              <a:rPr lang="en-US" b="1" dirty="0"/>
              <a:t>(Stream It) </a:t>
            </a:r>
          </a:p>
          <a:p>
            <a:pPr marL="228600" indent="-228600">
              <a:buFont typeface="+mj-lt"/>
              <a:buAutoNum type="arabicPeriod"/>
            </a:pPr>
            <a:r>
              <a:rPr lang="en-US" dirty="0"/>
              <a:t>Analysis Services - https://docs.microsoft.com/en-us/azure/analysis-services/analysis-services-overview</a:t>
            </a:r>
          </a:p>
          <a:p>
            <a:pPr marL="228600" indent="-228600">
              <a:buFont typeface="+mj-lt"/>
              <a:buAutoNum type="arabicPeriod"/>
            </a:pPr>
            <a:r>
              <a:rPr lang="en-US" dirty="0"/>
              <a:t>Power BI - https://powerbi.microsoft.com/ </a:t>
            </a:r>
            <a:r>
              <a:rPr lang="en-US" b="1" dirty="0"/>
              <a:t>(See It)</a:t>
            </a:r>
          </a:p>
          <a:p>
            <a:pPr marL="228600" indent="-228600">
              <a:buFont typeface="+mj-lt"/>
              <a:buAutoNum type="arabicPeriod"/>
            </a:pPr>
            <a:r>
              <a:rPr lang="en-US" dirty="0"/>
              <a:t>All of the components within the suite - https://www.microsoft.com/en-us/server-cloud/cortana-intelligence-suite/what-is-cortana-intelligence.aspx</a:t>
            </a:r>
          </a:p>
          <a:p>
            <a:pPr marL="228600" indent="-228600">
              <a:buFont typeface="+mj-lt"/>
              <a:buAutoNum type="arabicPeriod"/>
            </a:pPr>
            <a:r>
              <a:rPr lang="en-US" dirty="0"/>
              <a:t>Templates - https://gallery.cortanaintelligence.com/browse?orderby=freshness%20desc&amp;skip=0&amp;categories=%5B%2210%22%5D and https://caqs.azure.net/#gallery</a:t>
            </a:r>
          </a:p>
          <a:p>
            <a:pPr marL="228600" indent="-228600">
              <a:buFont typeface="+mj-lt"/>
              <a:buAutoNum type="arabicPeriod"/>
            </a:pPr>
            <a:endParaRPr lang="en-US" b="0" dirty="0"/>
          </a:p>
          <a:p>
            <a:pPr marL="228600" indent="-228600">
              <a:buFont typeface="+mj-lt"/>
              <a:buAutoNum type="arabicPeriod"/>
            </a:pPr>
            <a:endParaRPr lang="en-US" b="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003765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98813" cy="18002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Depends on the customer - </a:t>
            </a:r>
            <a:r>
              <a:rPr lang="en-US" dirty="0">
                <a:hlinkClick r:id="rId3"/>
              </a:rPr>
              <a:t>https://www.microsoft.com/en-us/cloud-platform/cortana-intelligence-suite-industry-solutions</a:t>
            </a:r>
            <a:r>
              <a:rPr lang="en-US" dirty="0"/>
              <a:t> </a:t>
            </a:r>
          </a:p>
          <a:p>
            <a:pPr marL="342900" indent="-342900">
              <a:buFont typeface="+mj-lt"/>
              <a:buAutoNum type="arabicPeriod"/>
            </a:pPr>
            <a:r>
              <a:rPr lang="en-US" dirty="0"/>
              <a:t>If you’re building a Cognitive Solution, it should be: </a:t>
            </a:r>
          </a:p>
          <a:p>
            <a:pPr marL="560162" lvl="1" indent="-342900">
              <a:buFont typeface="+mj-lt"/>
              <a:buAutoNum type="alphaLcPeriod"/>
            </a:pPr>
            <a:r>
              <a:rPr lang="en-US" dirty="0"/>
              <a:t>Interactive</a:t>
            </a:r>
          </a:p>
          <a:p>
            <a:pPr marL="560162" lvl="1" indent="-342900">
              <a:buFont typeface="+mj-lt"/>
              <a:buAutoNum type="alphaLcPeriod"/>
            </a:pPr>
            <a:r>
              <a:rPr lang="en-US" dirty="0"/>
              <a:t>Adaptive</a:t>
            </a:r>
          </a:p>
          <a:p>
            <a:pPr marL="560162" lvl="1" indent="-342900">
              <a:buFont typeface="+mj-lt"/>
              <a:buAutoNum type="alphaLcPeriod"/>
            </a:pPr>
            <a:r>
              <a:rPr lang="en-US" dirty="0"/>
              <a:t>Iterative</a:t>
            </a:r>
            <a:r>
              <a:rPr lang="en-US" baseline="0" dirty="0"/>
              <a:t> with State</a:t>
            </a:r>
          </a:p>
          <a:p>
            <a:pPr marL="560162" lvl="1" indent="-342900">
              <a:buFont typeface="+mj-lt"/>
              <a:buAutoNum type="alphaLcPeriod"/>
            </a:pPr>
            <a:r>
              <a:rPr lang="en-US" baseline="0" dirty="0"/>
              <a:t>Contextual</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2784545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98813" cy="1800225"/>
          </a:xfrm>
        </p:spPr>
      </p:sp>
      <p:sp>
        <p:nvSpPr>
          <p:cNvPr id="3" name="Notes Placeholder 2"/>
          <p:cNvSpPr>
            <a:spLocks noGrp="1"/>
          </p:cNvSpPr>
          <p:nvPr>
            <p:ph type="body" idx="1"/>
          </p:nvPr>
        </p:nvSpPr>
        <p:spPr/>
        <p:txBody>
          <a:bodyPr/>
          <a:lstStyle/>
          <a:p>
            <a:pPr marL="228600" indent="-228600">
              <a:buFont typeface="+mj-lt"/>
              <a:buAutoNum type="arabicPeriod"/>
            </a:pPr>
            <a:r>
              <a:rPr lang="en-US" baseline="0" dirty="0"/>
              <a:t>More about Wide World Importers: https://docs.microsoft.com/en-us/sql/sample/world-wide-importers/overview</a:t>
            </a:r>
          </a:p>
          <a:p>
            <a:pPr marL="228600" indent="-228600">
              <a:buFont typeface="+mj-lt"/>
              <a:buAutoNum type="arabicPeriod"/>
            </a:pPr>
            <a:r>
              <a:rPr lang="en-US" baseline="0" dirty="0"/>
              <a:t>Anomaly Detection: https://gallery.cortanaintelligence.com/Solution/Anomaly-Detection-in-Real-time-Data-Streams</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41126632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98813" cy="1800225"/>
          </a:xfrm>
        </p:spPr>
      </p:sp>
      <p:sp>
        <p:nvSpPr>
          <p:cNvPr id="3" name="Notes Placeholder 2"/>
          <p:cNvSpPr>
            <a:spLocks noGrp="1"/>
          </p:cNvSpPr>
          <p:nvPr>
            <p:ph type="body" idx="1"/>
          </p:nvPr>
        </p:nvSpPr>
        <p:spPr/>
        <p:txBody>
          <a:bodyPr/>
          <a:lstStyle/>
          <a:p>
            <a:pPr marL="228600" indent="-228600">
              <a:buFont typeface="+mj-lt"/>
              <a:buAutoNum type="arabicPeriod"/>
            </a:pPr>
            <a:r>
              <a:rPr lang="en-US" baseline="0" dirty="0"/>
              <a:t>More about Wide World Importers: https://docs.microsoft.com/en-us/sql/sample/world-wide-importers/overview</a:t>
            </a:r>
          </a:p>
          <a:p>
            <a:pPr marL="228600" indent="-228600">
              <a:buFont typeface="+mj-lt"/>
              <a:buAutoNum type="arabicPeriod"/>
            </a:pPr>
            <a:r>
              <a:rPr lang="en-US" baseline="0" dirty="0"/>
              <a:t>Anomaly Detection: https://gallery.cortanaintelligence.com/Solution/Anomaly-Detection-in-Real-time-Data-Streams</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0454630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a:t>A discussion of this graphic: https://buckwoody.wordpress.com/2016/05/16/the-cortana-intelligence-suite-what-to-use-when/</a:t>
            </a:r>
            <a:endParaRPr lang="en-US" baseline="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549726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2.emf"/><Relationship Id="rId5" Type="http://schemas.openxmlformats.org/officeDocument/2006/relationships/oleObject" Target="../embeddings/oleObject2.bin"/><Relationship Id="rId4" Type="http://schemas.openxmlformats.org/officeDocument/2006/relationships/image" Target="../media/image11.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7002954"/>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3"/>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1" y="3041371"/>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62280" y="6209084"/>
            <a:ext cx="1456418" cy="310896"/>
          </a:xfrm>
          <a:prstGeom prst="rect">
            <a:avLst/>
          </a:prstGeom>
        </p:spPr>
      </p:pic>
    </p:spTree>
    <p:extLst>
      <p:ext uri="{BB962C8B-B14F-4D97-AF65-F5344CB8AC3E}">
        <p14:creationId xmlns:p14="http://schemas.microsoft.com/office/powerpoint/2010/main" val="1846420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00690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00039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a:t>Edit Master text styles</a:t>
            </a:r>
          </a:p>
          <a:p>
            <a:pPr marL="514350" marR="0" lvl="1" indent="-514350" algn="l" defTabSz="932742" rtl="0" eaLnBrk="1" fontAlgn="auto" latinLnBrk="0" hangingPunct="1">
              <a:lnSpc>
                <a:spcPct val="90000"/>
              </a:lnSpc>
              <a:spcBef>
                <a:spcPts val="1224"/>
              </a:spcBef>
              <a:spcAft>
                <a:spcPts val="0"/>
              </a:spcAft>
              <a:buClr>
                <a:schemeClr val="tx1"/>
              </a:buClr>
              <a:buSzPct val="90000"/>
              <a:tabLst/>
            </a:pPr>
            <a:r>
              <a:rPr lang="en-US"/>
              <a:t>Second level</a:t>
            </a:r>
          </a:p>
          <a:p>
            <a:pPr marL="514350" marR="0" lvl="2" indent="-514350" algn="l" defTabSz="932742" rtl="0" eaLnBrk="1" fontAlgn="auto" latinLnBrk="0" hangingPunct="1">
              <a:lnSpc>
                <a:spcPct val="90000"/>
              </a:lnSpc>
              <a:spcBef>
                <a:spcPts val="1224"/>
              </a:spcBef>
              <a:spcAft>
                <a:spcPts val="0"/>
              </a:spcAft>
              <a:buClr>
                <a:schemeClr val="tx1"/>
              </a:buClr>
              <a:buSzPct val="90000"/>
              <a:tabLst/>
            </a:pPr>
            <a:r>
              <a:rPr lang="en-US"/>
              <a:t>Third level</a:t>
            </a:r>
          </a:p>
          <a:p>
            <a:pPr marL="514350" marR="0" lvl="3" indent="-514350" algn="l" defTabSz="932742" rtl="0" eaLnBrk="1" fontAlgn="auto" latinLnBrk="0" hangingPunct="1">
              <a:lnSpc>
                <a:spcPct val="90000"/>
              </a:lnSpc>
              <a:spcBef>
                <a:spcPts val="1224"/>
              </a:spcBef>
              <a:spcAft>
                <a:spcPts val="0"/>
              </a:spcAft>
              <a:buClr>
                <a:schemeClr val="tx1"/>
              </a:buClr>
              <a:buSzPct val="90000"/>
              <a:tabLst/>
            </a:pPr>
            <a:r>
              <a:rPr lang="en-US"/>
              <a:t>Fourth level</a:t>
            </a:r>
          </a:p>
          <a:p>
            <a:pPr marL="514350" marR="0" lvl="4" indent="-514350" algn="l" defTabSz="932742" rtl="0" eaLnBrk="1" fontAlgn="auto" latinLnBrk="0" hangingPunct="1">
              <a:lnSpc>
                <a:spcPct val="90000"/>
              </a:lnSpc>
              <a:spcBef>
                <a:spcPts val="1224"/>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2205499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75" marR="0" lvl="1"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75" marR="0" lvl="2"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75" marR="0" lvl="3"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75" marR="0" lvl="4"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2140559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85884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6607059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6718722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97383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2868079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4" name="Rectangle 3"/>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8" name="Rectangle 7"/>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6" name="Rectangle 5"/>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9" name="Rectangle 8"/>
          <p:cNvSpPr/>
          <p:nvPr userDrawn="1"/>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68080" y="2959722"/>
            <a:ext cx="2902056" cy="1067073"/>
          </a:xfrm>
          <a:prstGeom prst="rect">
            <a:avLst/>
          </a:prstGeom>
        </p:spPr>
      </p:pic>
    </p:spTree>
    <p:extLst>
      <p:ext uri="{BB962C8B-B14F-4D97-AF65-F5344CB8AC3E}">
        <p14:creationId xmlns:p14="http://schemas.microsoft.com/office/powerpoint/2010/main" val="1344839675"/>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220703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4749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17903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120969" y="295274"/>
            <a:ext cx="7043233" cy="917575"/>
          </a:xfrm>
        </p:spPr>
        <p:txBody>
          <a:bodyPr/>
          <a:lstStyle>
            <a:lvl1pPr>
              <a:defRPr sz="4000"/>
            </a:lvl1pPr>
          </a:lstStyle>
          <a:p>
            <a:r>
              <a:rPr lang="en-US"/>
              <a:t>Click to edit Master title style</a:t>
            </a:r>
          </a:p>
        </p:txBody>
      </p:sp>
      <p:sp>
        <p:nvSpPr>
          <p:cNvPr id="4" name="Text Placeholder 3"/>
          <p:cNvSpPr>
            <a:spLocks noGrp="1"/>
          </p:cNvSpPr>
          <p:nvPr>
            <p:ph type="body" sz="quarter" idx="10"/>
          </p:nvPr>
        </p:nvSpPr>
        <p:spPr>
          <a:xfrm>
            <a:off x="5120970" y="4868863"/>
            <a:ext cx="7042456" cy="1828800"/>
          </a:xfrm>
        </p:spPr>
        <p:txBody>
          <a:bodyPr wrap="square">
            <a:noAutofit/>
          </a:bodyPr>
          <a:lstStyle>
            <a:lvl1pPr marL="0" indent="0">
              <a:spcBef>
                <a:spcPts val="1800"/>
              </a:spcBef>
              <a:buNone/>
              <a:defRPr sz="2000">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925696" cy="6995160"/>
          </a:xfrm>
          <a:prstGeom prst="rect">
            <a:avLst/>
          </a:prstGeom>
        </p:spPr>
      </p:pic>
    </p:spTree>
    <p:extLst>
      <p:ext uri="{BB962C8B-B14F-4D97-AF65-F5344CB8AC3E}">
        <p14:creationId xmlns:p14="http://schemas.microsoft.com/office/powerpoint/2010/main" val="3726530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1523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32075242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1055807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Split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40" name="Rectangle 139"/>
          <p:cNvSpPr/>
          <p:nvPr userDrawn="1"/>
        </p:nvSpPr>
        <p:spPr>
          <a:xfrm>
            <a:off x="0" y="0"/>
            <a:ext cx="12436475" cy="6994525"/>
          </a:xfrm>
          <a:prstGeom prst="rect">
            <a:avLst/>
          </a:prstGeom>
          <a:gradFill>
            <a:gsLst>
              <a:gs pos="0">
                <a:srgbClr val="002050">
                  <a:alpha val="60000"/>
                </a:srgbClr>
              </a:gs>
              <a:gs pos="100000">
                <a:srgbClr val="002050">
                  <a:alpha val="70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836" kern="0">
              <a:solidFill>
                <a:sysClr val="windowText" lastClr="000000"/>
              </a:solidFill>
            </a:endParaRPr>
          </a:p>
        </p:txBody>
      </p:sp>
      <p:sp>
        <p:nvSpPr>
          <p:cNvPr id="90" name="Rectangle 89"/>
          <p:cNvSpPr/>
          <p:nvPr userDrawn="1"/>
        </p:nvSpPr>
        <p:spPr>
          <a:xfrm flipH="1">
            <a:off x="5435847" y="0"/>
            <a:ext cx="7000629" cy="6994525"/>
          </a:xfrm>
          <a:prstGeom prst="rect">
            <a:avLst/>
          </a:prstGeom>
          <a:solidFill>
            <a:srgbClr val="ECEF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91" name="Content Placeholder 2"/>
          <p:cNvSpPr>
            <a:spLocks noGrp="1"/>
          </p:cNvSpPr>
          <p:nvPr>
            <p:ph idx="1"/>
          </p:nvPr>
        </p:nvSpPr>
        <p:spPr>
          <a:xfrm>
            <a:off x="6097737" y="2703740"/>
            <a:ext cx="4560577" cy="1587048"/>
          </a:xfrm>
        </p:spPr>
        <p:txBody>
          <a:bodyPr anchor="t">
            <a:noAutofit/>
          </a:bodyPr>
          <a:lstStyle>
            <a:lvl1pPr marL="0" indent="0">
              <a:lnSpc>
                <a:spcPct val="100000"/>
              </a:lnSpc>
              <a:buNone/>
              <a:defRPr/>
            </a:lvl1pPr>
          </a:lstStyle>
          <a:p>
            <a:pPr marL="0" indent="0">
              <a:lnSpc>
                <a:spcPct val="100000"/>
              </a:lnSpc>
              <a:buNone/>
            </a:pPr>
            <a:endParaRPr lang="en-US" sz="2448" b="1">
              <a:solidFill>
                <a:srgbClr val="002050"/>
              </a:solidFill>
              <a:latin typeface="+mn-lt"/>
            </a:endParaRPr>
          </a:p>
        </p:txBody>
      </p:sp>
    </p:spTree>
    <p:extLst>
      <p:ext uri="{BB962C8B-B14F-4D97-AF65-F5344CB8AC3E}">
        <p14:creationId xmlns:p14="http://schemas.microsoft.com/office/powerpoint/2010/main" val="322422658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Title only">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pSp>
        <p:nvGrpSpPr>
          <p:cNvPr id="4" name="Group 3"/>
          <p:cNvGrpSpPr/>
          <p:nvPr userDrawn="1"/>
        </p:nvGrpSpPr>
        <p:grpSpPr>
          <a:xfrm rot="5400000">
            <a:off x="-2024746" y="1847079"/>
            <a:ext cx="6229940" cy="2535777"/>
            <a:chOff x="-32657" y="4691730"/>
            <a:chExt cx="6625100" cy="2804185"/>
          </a:xfrm>
        </p:grpSpPr>
        <p:sp>
          <p:nvSpPr>
            <p:cNvPr id="5" name="Freeform: Shape 4"/>
            <p:cNvSpPr/>
            <p:nvPr/>
          </p:nvSpPr>
          <p:spPr>
            <a:xfrm>
              <a:off x="-32657" y="4691730"/>
              <a:ext cx="6625100" cy="2687163"/>
            </a:xfrm>
            <a:custGeom>
              <a:avLst/>
              <a:gdLst>
                <a:gd name="connsiteX0" fmla="*/ 0 w 6527800"/>
                <a:gd name="connsiteY0" fmla="*/ 1190184 h 2282384"/>
                <a:gd name="connsiteX1" fmla="*/ 765628 w 6527800"/>
                <a:gd name="connsiteY1" fmla="*/ 1865099 h 2282384"/>
                <a:gd name="connsiteX2" fmla="*/ 1531257 w 6527800"/>
                <a:gd name="connsiteY2" fmla="*/ 13 h 2282384"/>
                <a:gd name="connsiteX3" fmla="*/ 2140857 w 6527800"/>
                <a:gd name="connsiteY3" fmla="*/ 1897756 h 2282384"/>
                <a:gd name="connsiteX4" fmla="*/ 2804886 w 6527800"/>
                <a:gd name="connsiteY4" fmla="*/ 801927 h 2282384"/>
                <a:gd name="connsiteX5" fmla="*/ 3291114 w 6527800"/>
                <a:gd name="connsiteY5" fmla="*/ 1846956 h 2282384"/>
                <a:gd name="connsiteX6" fmla="*/ 3755571 w 6527800"/>
                <a:gd name="connsiteY6" fmla="*/ 1273641 h 2282384"/>
                <a:gd name="connsiteX7" fmla="*/ 4071257 w 6527800"/>
                <a:gd name="connsiteY7" fmla="*/ 1763499 h 2282384"/>
                <a:gd name="connsiteX8" fmla="*/ 4466771 w 6527800"/>
                <a:gd name="connsiteY8" fmla="*/ 399156 h 2282384"/>
                <a:gd name="connsiteX9" fmla="*/ 4858657 w 6527800"/>
                <a:gd name="connsiteY9" fmla="*/ 1357099 h 2282384"/>
                <a:gd name="connsiteX10" fmla="*/ 5148943 w 6527800"/>
                <a:gd name="connsiteY10" fmla="*/ 747499 h 2282384"/>
                <a:gd name="connsiteX11" fmla="*/ 5588000 w 6527800"/>
                <a:gd name="connsiteY11" fmla="*/ 1886870 h 2282384"/>
                <a:gd name="connsiteX12" fmla="*/ 6074228 w 6527800"/>
                <a:gd name="connsiteY12" fmla="*/ 928927 h 2282384"/>
                <a:gd name="connsiteX13" fmla="*/ 6527800 w 6527800"/>
                <a:gd name="connsiteY13" fmla="*/ 2282384 h 2282384"/>
                <a:gd name="connsiteX0" fmla="*/ 0 w 6625100"/>
                <a:gd name="connsiteY0" fmla="*/ 1190184 h 2687163"/>
                <a:gd name="connsiteX1" fmla="*/ 765628 w 6625100"/>
                <a:gd name="connsiteY1" fmla="*/ 1865099 h 2687163"/>
                <a:gd name="connsiteX2" fmla="*/ 1531257 w 6625100"/>
                <a:gd name="connsiteY2" fmla="*/ 13 h 2687163"/>
                <a:gd name="connsiteX3" fmla="*/ 2140857 w 6625100"/>
                <a:gd name="connsiteY3" fmla="*/ 1897756 h 2687163"/>
                <a:gd name="connsiteX4" fmla="*/ 2804886 w 6625100"/>
                <a:gd name="connsiteY4" fmla="*/ 801927 h 2687163"/>
                <a:gd name="connsiteX5" fmla="*/ 3291114 w 6625100"/>
                <a:gd name="connsiteY5" fmla="*/ 1846956 h 2687163"/>
                <a:gd name="connsiteX6" fmla="*/ 3755571 w 6625100"/>
                <a:gd name="connsiteY6" fmla="*/ 1273641 h 2687163"/>
                <a:gd name="connsiteX7" fmla="*/ 4071257 w 6625100"/>
                <a:gd name="connsiteY7" fmla="*/ 1763499 h 2687163"/>
                <a:gd name="connsiteX8" fmla="*/ 4466771 w 6625100"/>
                <a:gd name="connsiteY8" fmla="*/ 399156 h 2687163"/>
                <a:gd name="connsiteX9" fmla="*/ 4858657 w 6625100"/>
                <a:gd name="connsiteY9" fmla="*/ 1357099 h 2687163"/>
                <a:gd name="connsiteX10" fmla="*/ 5148943 w 6625100"/>
                <a:gd name="connsiteY10" fmla="*/ 747499 h 2687163"/>
                <a:gd name="connsiteX11" fmla="*/ 5588000 w 6625100"/>
                <a:gd name="connsiteY11" fmla="*/ 1886870 h 2687163"/>
                <a:gd name="connsiteX12" fmla="*/ 6074228 w 6625100"/>
                <a:gd name="connsiteY12" fmla="*/ 928927 h 2687163"/>
                <a:gd name="connsiteX13" fmla="*/ 6625100 w 6625100"/>
                <a:gd name="connsiteY13" fmla="*/ 2687163 h 2687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25100" h="2687163">
                  <a:moveTo>
                    <a:pt x="0" y="1190184"/>
                  </a:moveTo>
                  <a:cubicBezTo>
                    <a:pt x="255209" y="1626822"/>
                    <a:pt x="510419" y="2063461"/>
                    <a:pt x="765628" y="1865099"/>
                  </a:cubicBezTo>
                  <a:cubicBezTo>
                    <a:pt x="1020837" y="1666737"/>
                    <a:pt x="1302052" y="-5430"/>
                    <a:pt x="1531257" y="13"/>
                  </a:cubicBezTo>
                  <a:cubicBezTo>
                    <a:pt x="1760462" y="5456"/>
                    <a:pt x="1928585" y="1764104"/>
                    <a:pt x="2140857" y="1897756"/>
                  </a:cubicBezTo>
                  <a:cubicBezTo>
                    <a:pt x="2353129" y="2031408"/>
                    <a:pt x="2613177" y="810394"/>
                    <a:pt x="2804886" y="801927"/>
                  </a:cubicBezTo>
                  <a:cubicBezTo>
                    <a:pt x="2996595" y="793460"/>
                    <a:pt x="3132667" y="1768337"/>
                    <a:pt x="3291114" y="1846956"/>
                  </a:cubicBezTo>
                  <a:cubicBezTo>
                    <a:pt x="3449561" y="1925575"/>
                    <a:pt x="3625547" y="1287550"/>
                    <a:pt x="3755571" y="1273641"/>
                  </a:cubicBezTo>
                  <a:cubicBezTo>
                    <a:pt x="3885595" y="1259732"/>
                    <a:pt x="3952724" y="1909247"/>
                    <a:pt x="4071257" y="1763499"/>
                  </a:cubicBezTo>
                  <a:cubicBezTo>
                    <a:pt x="4189790" y="1617752"/>
                    <a:pt x="4335538" y="466889"/>
                    <a:pt x="4466771" y="399156"/>
                  </a:cubicBezTo>
                  <a:cubicBezTo>
                    <a:pt x="4598004" y="331423"/>
                    <a:pt x="4744962" y="1299042"/>
                    <a:pt x="4858657" y="1357099"/>
                  </a:cubicBezTo>
                  <a:cubicBezTo>
                    <a:pt x="4972352" y="1415156"/>
                    <a:pt x="5027386" y="659204"/>
                    <a:pt x="5148943" y="747499"/>
                  </a:cubicBezTo>
                  <a:cubicBezTo>
                    <a:pt x="5270500" y="835794"/>
                    <a:pt x="5433786" y="1856632"/>
                    <a:pt x="5588000" y="1886870"/>
                  </a:cubicBezTo>
                  <a:cubicBezTo>
                    <a:pt x="5742214" y="1917108"/>
                    <a:pt x="5901378" y="795545"/>
                    <a:pt x="6074228" y="928927"/>
                  </a:cubicBezTo>
                  <a:cubicBezTo>
                    <a:pt x="6247078" y="1062309"/>
                    <a:pt x="6476630" y="2043394"/>
                    <a:pt x="6625100" y="2687163"/>
                  </a:cubicBezTo>
                </a:path>
              </a:pathLst>
            </a:custGeom>
            <a:noFill/>
            <a:ln>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6" name="Freeform: Shape 5"/>
            <p:cNvSpPr/>
            <p:nvPr/>
          </p:nvSpPr>
          <p:spPr>
            <a:xfrm>
              <a:off x="-32656" y="5183779"/>
              <a:ext cx="6586180" cy="2211872"/>
            </a:xfrm>
            <a:custGeom>
              <a:avLst/>
              <a:gdLst>
                <a:gd name="connsiteX0" fmla="*/ 0 w 6527800"/>
                <a:gd name="connsiteY0" fmla="*/ 1190184 h 2282384"/>
                <a:gd name="connsiteX1" fmla="*/ 765628 w 6527800"/>
                <a:gd name="connsiteY1" fmla="*/ 1865099 h 2282384"/>
                <a:gd name="connsiteX2" fmla="*/ 1531257 w 6527800"/>
                <a:gd name="connsiteY2" fmla="*/ 13 h 2282384"/>
                <a:gd name="connsiteX3" fmla="*/ 2140857 w 6527800"/>
                <a:gd name="connsiteY3" fmla="*/ 1897756 h 2282384"/>
                <a:gd name="connsiteX4" fmla="*/ 2804886 w 6527800"/>
                <a:gd name="connsiteY4" fmla="*/ 801927 h 2282384"/>
                <a:gd name="connsiteX5" fmla="*/ 3291114 w 6527800"/>
                <a:gd name="connsiteY5" fmla="*/ 1846956 h 2282384"/>
                <a:gd name="connsiteX6" fmla="*/ 3755571 w 6527800"/>
                <a:gd name="connsiteY6" fmla="*/ 1273641 h 2282384"/>
                <a:gd name="connsiteX7" fmla="*/ 4071257 w 6527800"/>
                <a:gd name="connsiteY7" fmla="*/ 1763499 h 2282384"/>
                <a:gd name="connsiteX8" fmla="*/ 4466771 w 6527800"/>
                <a:gd name="connsiteY8" fmla="*/ 399156 h 2282384"/>
                <a:gd name="connsiteX9" fmla="*/ 4858657 w 6527800"/>
                <a:gd name="connsiteY9" fmla="*/ 1357099 h 2282384"/>
                <a:gd name="connsiteX10" fmla="*/ 5148943 w 6527800"/>
                <a:gd name="connsiteY10" fmla="*/ 747499 h 2282384"/>
                <a:gd name="connsiteX11" fmla="*/ 5588000 w 6527800"/>
                <a:gd name="connsiteY11" fmla="*/ 1886870 h 2282384"/>
                <a:gd name="connsiteX12" fmla="*/ 6074228 w 6527800"/>
                <a:gd name="connsiteY12" fmla="*/ 928927 h 2282384"/>
                <a:gd name="connsiteX13" fmla="*/ 6527800 w 6527800"/>
                <a:gd name="connsiteY13" fmla="*/ 2282384 h 2282384"/>
                <a:gd name="connsiteX0" fmla="*/ 0 w 6586180"/>
                <a:gd name="connsiteY0" fmla="*/ 1190184 h 2518602"/>
                <a:gd name="connsiteX1" fmla="*/ 765628 w 6586180"/>
                <a:gd name="connsiteY1" fmla="*/ 1865099 h 2518602"/>
                <a:gd name="connsiteX2" fmla="*/ 1531257 w 6586180"/>
                <a:gd name="connsiteY2" fmla="*/ 13 h 2518602"/>
                <a:gd name="connsiteX3" fmla="*/ 2140857 w 6586180"/>
                <a:gd name="connsiteY3" fmla="*/ 1897756 h 2518602"/>
                <a:gd name="connsiteX4" fmla="*/ 2804886 w 6586180"/>
                <a:gd name="connsiteY4" fmla="*/ 801927 h 2518602"/>
                <a:gd name="connsiteX5" fmla="*/ 3291114 w 6586180"/>
                <a:gd name="connsiteY5" fmla="*/ 1846956 h 2518602"/>
                <a:gd name="connsiteX6" fmla="*/ 3755571 w 6586180"/>
                <a:gd name="connsiteY6" fmla="*/ 1273641 h 2518602"/>
                <a:gd name="connsiteX7" fmla="*/ 4071257 w 6586180"/>
                <a:gd name="connsiteY7" fmla="*/ 1763499 h 2518602"/>
                <a:gd name="connsiteX8" fmla="*/ 4466771 w 6586180"/>
                <a:gd name="connsiteY8" fmla="*/ 399156 h 2518602"/>
                <a:gd name="connsiteX9" fmla="*/ 4858657 w 6586180"/>
                <a:gd name="connsiteY9" fmla="*/ 1357099 h 2518602"/>
                <a:gd name="connsiteX10" fmla="*/ 5148943 w 6586180"/>
                <a:gd name="connsiteY10" fmla="*/ 747499 h 2518602"/>
                <a:gd name="connsiteX11" fmla="*/ 5588000 w 6586180"/>
                <a:gd name="connsiteY11" fmla="*/ 1886870 h 2518602"/>
                <a:gd name="connsiteX12" fmla="*/ 6074228 w 6586180"/>
                <a:gd name="connsiteY12" fmla="*/ 928927 h 2518602"/>
                <a:gd name="connsiteX13" fmla="*/ 6586180 w 6586180"/>
                <a:gd name="connsiteY13" fmla="*/ 2518602 h 2518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586180" h="2518602">
                  <a:moveTo>
                    <a:pt x="0" y="1190184"/>
                  </a:moveTo>
                  <a:cubicBezTo>
                    <a:pt x="255209" y="1626822"/>
                    <a:pt x="510419" y="2063461"/>
                    <a:pt x="765628" y="1865099"/>
                  </a:cubicBezTo>
                  <a:cubicBezTo>
                    <a:pt x="1020837" y="1666737"/>
                    <a:pt x="1302052" y="-5430"/>
                    <a:pt x="1531257" y="13"/>
                  </a:cubicBezTo>
                  <a:cubicBezTo>
                    <a:pt x="1760462" y="5456"/>
                    <a:pt x="1928585" y="1764104"/>
                    <a:pt x="2140857" y="1897756"/>
                  </a:cubicBezTo>
                  <a:cubicBezTo>
                    <a:pt x="2353129" y="2031408"/>
                    <a:pt x="2613177" y="810394"/>
                    <a:pt x="2804886" y="801927"/>
                  </a:cubicBezTo>
                  <a:cubicBezTo>
                    <a:pt x="2996595" y="793460"/>
                    <a:pt x="3132667" y="1768337"/>
                    <a:pt x="3291114" y="1846956"/>
                  </a:cubicBezTo>
                  <a:cubicBezTo>
                    <a:pt x="3449561" y="1925575"/>
                    <a:pt x="3625547" y="1287550"/>
                    <a:pt x="3755571" y="1273641"/>
                  </a:cubicBezTo>
                  <a:cubicBezTo>
                    <a:pt x="3885595" y="1259732"/>
                    <a:pt x="3952724" y="1909247"/>
                    <a:pt x="4071257" y="1763499"/>
                  </a:cubicBezTo>
                  <a:cubicBezTo>
                    <a:pt x="4189790" y="1617752"/>
                    <a:pt x="4335538" y="466889"/>
                    <a:pt x="4466771" y="399156"/>
                  </a:cubicBezTo>
                  <a:cubicBezTo>
                    <a:pt x="4598004" y="331423"/>
                    <a:pt x="4744962" y="1299042"/>
                    <a:pt x="4858657" y="1357099"/>
                  </a:cubicBezTo>
                  <a:cubicBezTo>
                    <a:pt x="4972352" y="1415156"/>
                    <a:pt x="5027386" y="659204"/>
                    <a:pt x="5148943" y="747499"/>
                  </a:cubicBezTo>
                  <a:cubicBezTo>
                    <a:pt x="5270500" y="835794"/>
                    <a:pt x="5433786" y="1856632"/>
                    <a:pt x="5588000" y="1886870"/>
                  </a:cubicBezTo>
                  <a:cubicBezTo>
                    <a:pt x="5742214" y="1917108"/>
                    <a:pt x="5907865" y="823638"/>
                    <a:pt x="6074228" y="928927"/>
                  </a:cubicBezTo>
                  <a:cubicBezTo>
                    <a:pt x="6240591" y="1034216"/>
                    <a:pt x="6437710" y="1874833"/>
                    <a:pt x="6586180" y="2518602"/>
                  </a:cubicBezTo>
                </a:path>
              </a:pathLst>
            </a:custGeom>
            <a:noFill/>
            <a:ln>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7" name="Freeform: Shape 6"/>
            <p:cNvSpPr/>
            <p:nvPr/>
          </p:nvSpPr>
          <p:spPr>
            <a:xfrm>
              <a:off x="-32657" y="5939971"/>
              <a:ext cx="6527800" cy="1476132"/>
            </a:xfrm>
            <a:custGeom>
              <a:avLst/>
              <a:gdLst>
                <a:gd name="connsiteX0" fmla="*/ 0 w 6527800"/>
                <a:gd name="connsiteY0" fmla="*/ 1190184 h 2282384"/>
                <a:gd name="connsiteX1" fmla="*/ 765628 w 6527800"/>
                <a:gd name="connsiteY1" fmla="*/ 1865099 h 2282384"/>
                <a:gd name="connsiteX2" fmla="*/ 1531257 w 6527800"/>
                <a:gd name="connsiteY2" fmla="*/ 13 h 2282384"/>
                <a:gd name="connsiteX3" fmla="*/ 2140857 w 6527800"/>
                <a:gd name="connsiteY3" fmla="*/ 1897756 h 2282384"/>
                <a:gd name="connsiteX4" fmla="*/ 2804886 w 6527800"/>
                <a:gd name="connsiteY4" fmla="*/ 801927 h 2282384"/>
                <a:gd name="connsiteX5" fmla="*/ 3291114 w 6527800"/>
                <a:gd name="connsiteY5" fmla="*/ 1846956 h 2282384"/>
                <a:gd name="connsiteX6" fmla="*/ 3755571 w 6527800"/>
                <a:gd name="connsiteY6" fmla="*/ 1273641 h 2282384"/>
                <a:gd name="connsiteX7" fmla="*/ 4071257 w 6527800"/>
                <a:gd name="connsiteY7" fmla="*/ 1763499 h 2282384"/>
                <a:gd name="connsiteX8" fmla="*/ 4466771 w 6527800"/>
                <a:gd name="connsiteY8" fmla="*/ 399156 h 2282384"/>
                <a:gd name="connsiteX9" fmla="*/ 4858657 w 6527800"/>
                <a:gd name="connsiteY9" fmla="*/ 1357099 h 2282384"/>
                <a:gd name="connsiteX10" fmla="*/ 5148943 w 6527800"/>
                <a:gd name="connsiteY10" fmla="*/ 747499 h 2282384"/>
                <a:gd name="connsiteX11" fmla="*/ 5588000 w 6527800"/>
                <a:gd name="connsiteY11" fmla="*/ 1886870 h 2282384"/>
                <a:gd name="connsiteX12" fmla="*/ 6074228 w 6527800"/>
                <a:gd name="connsiteY12" fmla="*/ 928927 h 2282384"/>
                <a:gd name="connsiteX13" fmla="*/ 6527800 w 6527800"/>
                <a:gd name="connsiteY13" fmla="*/ 2282384 h 2282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527800" h="2282384">
                  <a:moveTo>
                    <a:pt x="0" y="1190184"/>
                  </a:moveTo>
                  <a:cubicBezTo>
                    <a:pt x="255209" y="1626822"/>
                    <a:pt x="510419" y="2063461"/>
                    <a:pt x="765628" y="1865099"/>
                  </a:cubicBezTo>
                  <a:cubicBezTo>
                    <a:pt x="1020837" y="1666737"/>
                    <a:pt x="1302052" y="-5430"/>
                    <a:pt x="1531257" y="13"/>
                  </a:cubicBezTo>
                  <a:cubicBezTo>
                    <a:pt x="1760462" y="5456"/>
                    <a:pt x="1928585" y="1764104"/>
                    <a:pt x="2140857" y="1897756"/>
                  </a:cubicBezTo>
                  <a:cubicBezTo>
                    <a:pt x="2353129" y="2031408"/>
                    <a:pt x="2613177" y="810394"/>
                    <a:pt x="2804886" y="801927"/>
                  </a:cubicBezTo>
                  <a:cubicBezTo>
                    <a:pt x="2996595" y="793460"/>
                    <a:pt x="3132667" y="1768337"/>
                    <a:pt x="3291114" y="1846956"/>
                  </a:cubicBezTo>
                  <a:cubicBezTo>
                    <a:pt x="3449561" y="1925575"/>
                    <a:pt x="3625547" y="1287550"/>
                    <a:pt x="3755571" y="1273641"/>
                  </a:cubicBezTo>
                  <a:cubicBezTo>
                    <a:pt x="3885595" y="1259732"/>
                    <a:pt x="3952724" y="1909247"/>
                    <a:pt x="4071257" y="1763499"/>
                  </a:cubicBezTo>
                  <a:cubicBezTo>
                    <a:pt x="4189790" y="1617752"/>
                    <a:pt x="4335538" y="466889"/>
                    <a:pt x="4466771" y="399156"/>
                  </a:cubicBezTo>
                  <a:cubicBezTo>
                    <a:pt x="4598004" y="331423"/>
                    <a:pt x="4744962" y="1299042"/>
                    <a:pt x="4858657" y="1357099"/>
                  </a:cubicBezTo>
                  <a:cubicBezTo>
                    <a:pt x="4972352" y="1415156"/>
                    <a:pt x="5027386" y="659204"/>
                    <a:pt x="5148943" y="747499"/>
                  </a:cubicBezTo>
                  <a:cubicBezTo>
                    <a:pt x="5270500" y="835794"/>
                    <a:pt x="5433786" y="1856632"/>
                    <a:pt x="5588000" y="1886870"/>
                  </a:cubicBezTo>
                  <a:cubicBezTo>
                    <a:pt x="5742214" y="1917108"/>
                    <a:pt x="5917595" y="863008"/>
                    <a:pt x="6074228" y="928927"/>
                  </a:cubicBezTo>
                  <a:cubicBezTo>
                    <a:pt x="6230861" y="994846"/>
                    <a:pt x="6379330" y="1638615"/>
                    <a:pt x="6527800" y="2282384"/>
                  </a:cubicBezTo>
                </a:path>
              </a:pathLst>
            </a:custGeom>
            <a:noFill/>
            <a:ln>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8" name="Freeform: Shape 7"/>
            <p:cNvSpPr/>
            <p:nvPr/>
          </p:nvSpPr>
          <p:spPr>
            <a:xfrm>
              <a:off x="-32657" y="6452313"/>
              <a:ext cx="6527800" cy="1043602"/>
            </a:xfrm>
            <a:custGeom>
              <a:avLst/>
              <a:gdLst>
                <a:gd name="connsiteX0" fmla="*/ 0 w 6527800"/>
                <a:gd name="connsiteY0" fmla="*/ 1190184 h 2282384"/>
                <a:gd name="connsiteX1" fmla="*/ 765628 w 6527800"/>
                <a:gd name="connsiteY1" fmla="*/ 1865099 h 2282384"/>
                <a:gd name="connsiteX2" fmla="*/ 1531257 w 6527800"/>
                <a:gd name="connsiteY2" fmla="*/ 13 h 2282384"/>
                <a:gd name="connsiteX3" fmla="*/ 2140857 w 6527800"/>
                <a:gd name="connsiteY3" fmla="*/ 1897756 h 2282384"/>
                <a:gd name="connsiteX4" fmla="*/ 2804886 w 6527800"/>
                <a:gd name="connsiteY4" fmla="*/ 801927 h 2282384"/>
                <a:gd name="connsiteX5" fmla="*/ 3291114 w 6527800"/>
                <a:gd name="connsiteY5" fmla="*/ 1846956 h 2282384"/>
                <a:gd name="connsiteX6" fmla="*/ 3755571 w 6527800"/>
                <a:gd name="connsiteY6" fmla="*/ 1273641 h 2282384"/>
                <a:gd name="connsiteX7" fmla="*/ 4071257 w 6527800"/>
                <a:gd name="connsiteY7" fmla="*/ 1763499 h 2282384"/>
                <a:gd name="connsiteX8" fmla="*/ 4466771 w 6527800"/>
                <a:gd name="connsiteY8" fmla="*/ 399156 h 2282384"/>
                <a:gd name="connsiteX9" fmla="*/ 4858657 w 6527800"/>
                <a:gd name="connsiteY9" fmla="*/ 1357099 h 2282384"/>
                <a:gd name="connsiteX10" fmla="*/ 5148943 w 6527800"/>
                <a:gd name="connsiteY10" fmla="*/ 747499 h 2282384"/>
                <a:gd name="connsiteX11" fmla="*/ 5588000 w 6527800"/>
                <a:gd name="connsiteY11" fmla="*/ 1886870 h 2282384"/>
                <a:gd name="connsiteX12" fmla="*/ 6074228 w 6527800"/>
                <a:gd name="connsiteY12" fmla="*/ 928927 h 2282384"/>
                <a:gd name="connsiteX13" fmla="*/ 6527800 w 6527800"/>
                <a:gd name="connsiteY13" fmla="*/ 2282384 h 2282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527800" h="2282384">
                  <a:moveTo>
                    <a:pt x="0" y="1190184"/>
                  </a:moveTo>
                  <a:cubicBezTo>
                    <a:pt x="255209" y="1626822"/>
                    <a:pt x="510419" y="2063461"/>
                    <a:pt x="765628" y="1865099"/>
                  </a:cubicBezTo>
                  <a:cubicBezTo>
                    <a:pt x="1020837" y="1666737"/>
                    <a:pt x="1302052" y="-5430"/>
                    <a:pt x="1531257" y="13"/>
                  </a:cubicBezTo>
                  <a:cubicBezTo>
                    <a:pt x="1760462" y="5456"/>
                    <a:pt x="1928585" y="1764104"/>
                    <a:pt x="2140857" y="1897756"/>
                  </a:cubicBezTo>
                  <a:cubicBezTo>
                    <a:pt x="2353129" y="2031408"/>
                    <a:pt x="2613177" y="810394"/>
                    <a:pt x="2804886" y="801927"/>
                  </a:cubicBezTo>
                  <a:cubicBezTo>
                    <a:pt x="2996595" y="793460"/>
                    <a:pt x="3132667" y="1768337"/>
                    <a:pt x="3291114" y="1846956"/>
                  </a:cubicBezTo>
                  <a:cubicBezTo>
                    <a:pt x="3449561" y="1925575"/>
                    <a:pt x="3625547" y="1287550"/>
                    <a:pt x="3755571" y="1273641"/>
                  </a:cubicBezTo>
                  <a:cubicBezTo>
                    <a:pt x="3885595" y="1259732"/>
                    <a:pt x="3952724" y="1909247"/>
                    <a:pt x="4071257" y="1763499"/>
                  </a:cubicBezTo>
                  <a:cubicBezTo>
                    <a:pt x="4189790" y="1617752"/>
                    <a:pt x="4335538" y="466889"/>
                    <a:pt x="4466771" y="399156"/>
                  </a:cubicBezTo>
                  <a:cubicBezTo>
                    <a:pt x="4598004" y="331423"/>
                    <a:pt x="4744962" y="1299042"/>
                    <a:pt x="4858657" y="1357099"/>
                  </a:cubicBezTo>
                  <a:cubicBezTo>
                    <a:pt x="4972352" y="1415156"/>
                    <a:pt x="5027386" y="659204"/>
                    <a:pt x="5148943" y="747499"/>
                  </a:cubicBezTo>
                  <a:cubicBezTo>
                    <a:pt x="5270500" y="835794"/>
                    <a:pt x="5433786" y="1856632"/>
                    <a:pt x="5588000" y="1886870"/>
                  </a:cubicBezTo>
                  <a:cubicBezTo>
                    <a:pt x="5742214" y="1917108"/>
                    <a:pt x="5917595" y="863008"/>
                    <a:pt x="6074228" y="928927"/>
                  </a:cubicBezTo>
                  <a:cubicBezTo>
                    <a:pt x="6230861" y="994846"/>
                    <a:pt x="6379330" y="1638615"/>
                    <a:pt x="6527800" y="2282384"/>
                  </a:cubicBezTo>
                </a:path>
              </a:pathLst>
            </a:custGeom>
            <a:noFill/>
            <a:ln>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grpSp>
        <p:nvGrpSpPr>
          <p:cNvPr id="9" name="Group 8"/>
          <p:cNvGrpSpPr/>
          <p:nvPr userDrawn="1"/>
        </p:nvGrpSpPr>
        <p:grpSpPr>
          <a:xfrm rot="5400000">
            <a:off x="1284518" y="-1725268"/>
            <a:ext cx="1173157" cy="4487785"/>
            <a:chOff x="1113971" y="3497757"/>
            <a:chExt cx="1150258" cy="3142530"/>
          </a:xfrm>
        </p:grpSpPr>
        <p:sp>
          <p:nvSpPr>
            <p:cNvPr id="10" name="Freeform: Shape 9"/>
            <p:cNvSpPr/>
            <p:nvPr/>
          </p:nvSpPr>
          <p:spPr>
            <a:xfrm>
              <a:off x="1113971" y="3497944"/>
              <a:ext cx="1150258"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Lst>
              <a:ahLst/>
              <a:cxnLst>
                <a:cxn ang="0">
                  <a:pos x="connsiteX0" y="connsiteY0"/>
                </a:cxn>
                <a:cxn ang="0">
                  <a:pos x="connsiteX1" y="connsiteY1"/>
                </a:cxn>
                <a:cxn ang="0">
                  <a:pos x="connsiteX2" y="connsiteY2"/>
                </a:cxn>
              </a:cxnLst>
              <a:rect l="l" t="t" r="r" b="b"/>
              <a:pathLst>
                <a:path w="1150258" h="3142343">
                  <a:moveTo>
                    <a:pt x="0" y="3142343"/>
                  </a:moveTo>
                  <a:cubicBezTo>
                    <a:pt x="259745" y="1577521"/>
                    <a:pt x="410633" y="524329"/>
                    <a:pt x="711200" y="0"/>
                  </a:cubicBezTo>
                  <a:cubicBezTo>
                    <a:pt x="732367" y="948871"/>
                    <a:pt x="848784" y="2375807"/>
                    <a:pt x="1150258" y="3066143"/>
                  </a:cubicBezTo>
                </a:path>
              </a:pathLst>
            </a:custGeom>
            <a:noFill/>
            <a:ln w="19050" cap="rnd">
              <a:solidFill>
                <a:schemeClr val="bg1">
                  <a:alpha val="5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2" name="Freeform: Shape 11"/>
            <p:cNvSpPr/>
            <p:nvPr/>
          </p:nvSpPr>
          <p:spPr>
            <a:xfrm>
              <a:off x="1201058" y="3497943"/>
              <a:ext cx="885371"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1013223"/>
                <a:gd name="connsiteY0" fmla="*/ 3142343 h 3142343"/>
                <a:gd name="connsiteX1" fmla="*/ 711200 w 1013223"/>
                <a:gd name="connsiteY1" fmla="*/ 0 h 3142343"/>
                <a:gd name="connsiteX2" fmla="*/ 1013223 w 1013223"/>
                <a:gd name="connsiteY2" fmla="*/ 3077029 h 3142343"/>
                <a:gd name="connsiteX0" fmla="*/ 0 w 1013223"/>
                <a:gd name="connsiteY0" fmla="*/ 3142343 h 3142343"/>
                <a:gd name="connsiteX1" fmla="*/ 711200 w 1013223"/>
                <a:gd name="connsiteY1" fmla="*/ 0 h 3142343"/>
                <a:gd name="connsiteX2" fmla="*/ 1013223 w 1013223"/>
                <a:gd name="connsiteY2" fmla="*/ 3077029 h 3142343"/>
                <a:gd name="connsiteX0" fmla="*/ 0 w 1013223"/>
                <a:gd name="connsiteY0" fmla="*/ 3142343 h 3142343"/>
                <a:gd name="connsiteX1" fmla="*/ 711200 w 1013223"/>
                <a:gd name="connsiteY1" fmla="*/ 0 h 3142343"/>
                <a:gd name="connsiteX2" fmla="*/ 1013223 w 1013223"/>
                <a:gd name="connsiteY2" fmla="*/ 3077029 h 3142343"/>
              </a:gdLst>
              <a:ahLst/>
              <a:cxnLst>
                <a:cxn ang="0">
                  <a:pos x="connsiteX0" y="connsiteY0"/>
                </a:cxn>
                <a:cxn ang="0">
                  <a:pos x="connsiteX1" y="connsiteY1"/>
                </a:cxn>
                <a:cxn ang="0">
                  <a:pos x="connsiteX2" y="connsiteY2"/>
                </a:cxn>
              </a:cxnLst>
              <a:rect l="l" t="t" r="r" b="b"/>
              <a:pathLst>
                <a:path w="1013223" h="3142343">
                  <a:moveTo>
                    <a:pt x="0" y="3142343"/>
                  </a:moveTo>
                  <a:cubicBezTo>
                    <a:pt x="259745" y="1577521"/>
                    <a:pt x="410633" y="524329"/>
                    <a:pt x="711200" y="0"/>
                  </a:cubicBezTo>
                  <a:cubicBezTo>
                    <a:pt x="691880" y="954314"/>
                    <a:pt x="820754" y="2288721"/>
                    <a:pt x="1013223" y="3077029"/>
                  </a:cubicBezTo>
                </a:path>
              </a:pathLst>
            </a:custGeom>
            <a:noFill/>
            <a:ln w="19050" cap="rnd">
              <a:solidFill>
                <a:schemeClr val="bg1">
                  <a:alpha val="5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3" name="Freeform: Shape 12"/>
            <p:cNvSpPr/>
            <p:nvPr/>
          </p:nvSpPr>
          <p:spPr>
            <a:xfrm>
              <a:off x="1527273" y="3498130"/>
              <a:ext cx="296864" cy="3128736"/>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711911"/>
                <a:gd name="connsiteY0" fmla="*/ 3142343 h 3142343"/>
                <a:gd name="connsiteX1" fmla="*/ 711200 w 711911"/>
                <a:gd name="connsiteY1" fmla="*/ 0 h 3142343"/>
                <a:gd name="connsiteX2" fmla="*/ 573840 w 711911"/>
                <a:gd name="connsiteY2" fmla="*/ 3115128 h 3142343"/>
                <a:gd name="connsiteX0" fmla="*/ 0 w 711199"/>
                <a:gd name="connsiteY0" fmla="*/ 3142343 h 3142343"/>
                <a:gd name="connsiteX1" fmla="*/ 711200 w 711199"/>
                <a:gd name="connsiteY1" fmla="*/ 0 h 3142343"/>
                <a:gd name="connsiteX2" fmla="*/ 573840 w 711199"/>
                <a:gd name="connsiteY2" fmla="*/ 3115128 h 3142343"/>
                <a:gd name="connsiteX0" fmla="*/ 0 w 610465"/>
                <a:gd name="connsiteY0" fmla="*/ 3128736 h 3128736"/>
                <a:gd name="connsiteX1" fmla="*/ 610466 w 610465"/>
                <a:gd name="connsiteY1" fmla="*/ 0 h 3128736"/>
                <a:gd name="connsiteX2" fmla="*/ 473106 w 610465"/>
                <a:gd name="connsiteY2" fmla="*/ 3115128 h 3128736"/>
                <a:gd name="connsiteX0" fmla="*/ 0 w 610465"/>
                <a:gd name="connsiteY0" fmla="*/ 3128736 h 3128736"/>
                <a:gd name="connsiteX1" fmla="*/ 610466 w 610465"/>
                <a:gd name="connsiteY1" fmla="*/ 0 h 3128736"/>
                <a:gd name="connsiteX2" fmla="*/ 473106 w 610465"/>
                <a:gd name="connsiteY2" fmla="*/ 3115128 h 3128736"/>
              </a:gdLst>
              <a:ahLst/>
              <a:cxnLst>
                <a:cxn ang="0">
                  <a:pos x="connsiteX0" y="connsiteY0"/>
                </a:cxn>
                <a:cxn ang="0">
                  <a:pos x="connsiteX1" y="connsiteY1"/>
                </a:cxn>
                <a:cxn ang="0">
                  <a:pos x="connsiteX2" y="connsiteY2"/>
                </a:cxn>
              </a:cxnLst>
              <a:rect l="l" t="t" r="r" b="b"/>
              <a:pathLst>
                <a:path w="610465" h="3128736">
                  <a:moveTo>
                    <a:pt x="0" y="3128736"/>
                  </a:moveTo>
                  <a:cubicBezTo>
                    <a:pt x="58280" y="1629229"/>
                    <a:pt x="309899" y="524329"/>
                    <a:pt x="610466" y="0"/>
                  </a:cubicBezTo>
                  <a:cubicBezTo>
                    <a:pt x="402185" y="888999"/>
                    <a:pt x="171632" y="2424792"/>
                    <a:pt x="473106" y="3115128"/>
                  </a:cubicBezTo>
                </a:path>
              </a:pathLst>
            </a:custGeom>
            <a:noFill/>
            <a:ln w="19050" cap="rnd">
              <a:solidFill>
                <a:schemeClr val="bg1">
                  <a:alpha val="5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4" name="Freeform: Shape 13"/>
            <p:cNvSpPr/>
            <p:nvPr/>
          </p:nvSpPr>
          <p:spPr>
            <a:xfrm>
              <a:off x="1340028" y="3497757"/>
              <a:ext cx="572960"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839308"/>
                <a:gd name="connsiteY0" fmla="*/ 3142343 h 3142343"/>
                <a:gd name="connsiteX1" fmla="*/ 711200 w 839308"/>
                <a:gd name="connsiteY1" fmla="*/ 0 h 3142343"/>
                <a:gd name="connsiteX2" fmla="*/ 839308 w 839308"/>
                <a:gd name="connsiteY2" fmla="*/ 3104243 h 3142343"/>
                <a:gd name="connsiteX0" fmla="*/ 0 w 839308"/>
                <a:gd name="connsiteY0" fmla="*/ 3142343 h 3142343"/>
                <a:gd name="connsiteX1" fmla="*/ 711200 w 839308"/>
                <a:gd name="connsiteY1" fmla="*/ 0 h 3142343"/>
                <a:gd name="connsiteX2" fmla="*/ 839308 w 839308"/>
                <a:gd name="connsiteY2" fmla="*/ 3104243 h 3142343"/>
                <a:gd name="connsiteX0" fmla="*/ 0 w 839308"/>
                <a:gd name="connsiteY0" fmla="*/ 3142343 h 3142343"/>
                <a:gd name="connsiteX1" fmla="*/ 711200 w 839308"/>
                <a:gd name="connsiteY1" fmla="*/ 0 h 3142343"/>
                <a:gd name="connsiteX2" fmla="*/ 839308 w 839308"/>
                <a:gd name="connsiteY2" fmla="*/ 3104243 h 3142343"/>
              </a:gdLst>
              <a:ahLst/>
              <a:cxnLst>
                <a:cxn ang="0">
                  <a:pos x="connsiteX0" y="connsiteY0"/>
                </a:cxn>
                <a:cxn ang="0">
                  <a:pos x="connsiteX1" y="connsiteY1"/>
                </a:cxn>
                <a:cxn ang="0">
                  <a:pos x="connsiteX2" y="connsiteY2"/>
                </a:cxn>
              </a:cxnLst>
              <a:rect l="l" t="t" r="r" b="b"/>
              <a:pathLst>
                <a:path w="839308" h="3142343">
                  <a:moveTo>
                    <a:pt x="0" y="3142343"/>
                  </a:moveTo>
                  <a:cubicBezTo>
                    <a:pt x="259745" y="1577521"/>
                    <a:pt x="410633" y="524329"/>
                    <a:pt x="711200" y="0"/>
                  </a:cubicBezTo>
                  <a:cubicBezTo>
                    <a:pt x="640677" y="951593"/>
                    <a:pt x="661415" y="2389414"/>
                    <a:pt x="839308" y="3104243"/>
                  </a:cubicBezTo>
                </a:path>
              </a:pathLst>
            </a:custGeom>
            <a:noFill/>
            <a:ln w="19050" cap="rnd">
              <a:solidFill>
                <a:schemeClr val="bg1">
                  <a:alpha val="5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grpSp>
        <p:nvGrpSpPr>
          <p:cNvPr id="15" name="Group 14"/>
          <p:cNvGrpSpPr/>
          <p:nvPr userDrawn="1"/>
        </p:nvGrpSpPr>
        <p:grpSpPr>
          <a:xfrm>
            <a:off x="3975927" y="521323"/>
            <a:ext cx="279762" cy="279722"/>
            <a:chOff x="3766458" y="4912364"/>
            <a:chExt cx="468086" cy="468086"/>
          </a:xfrm>
        </p:grpSpPr>
        <p:sp>
          <p:nvSpPr>
            <p:cNvPr id="16" name="Oval 15"/>
            <p:cNvSpPr/>
            <p:nvPr/>
          </p:nvSpPr>
          <p:spPr>
            <a:xfrm>
              <a:off x="3766458" y="4912364"/>
              <a:ext cx="468086" cy="468086"/>
            </a:xfrm>
            <a:prstGeom prst="ellipse">
              <a:avLst/>
            </a:prstGeom>
            <a:noFill/>
            <a:ln w="19050">
              <a:solidFill>
                <a:schemeClr val="bg1">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7" name="Oval 16"/>
            <p:cNvSpPr/>
            <p:nvPr/>
          </p:nvSpPr>
          <p:spPr>
            <a:xfrm>
              <a:off x="3860079" y="5005985"/>
              <a:ext cx="280844" cy="280844"/>
            </a:xfrm>
            <a:prstGeom prst="ellipse">
              <a:avLst/>
            </a:prstGeom>
            <a:noFill/>
            <a:ln w="19050">
              <a:solidFill>
                <a:schemeClr val="bg1">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8" name="Oval 17"/>
            <p:cNvSpPr/>
            <p:nvPr/>
          </p:nvSpPr>
          <p:spPr>
            <a:xfrm>
              <a:off x="3959681" y="5105587"/>
              <a:ext cx="81640" cy="81640"/>
            </a:xfrm>
            <a:prstGeom prst="ellipse">
              <a:avLst/>
            </a:prstGeom>
            <a:solidFill>
              <a:schemeClr val="bg1">
                <a:alpha val="6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grpSp>
        <p:nvGrpSpPr>
          <p:cNvPr id="19" name="Group 18"/>
          <p:cNvGrpSpPr/>
          <p:nvPr userDrawn="1"/>
        </p:nvGrpSpPr>
        <p:grpSpPr>
          <a:xfrm flipH="1">
            <a:off x="5495961" y="2728871"/>
            <a:ext cx="7017754" cy="3555099"/>
            <a:chOff x="2661557" y="1008743"/>
            <a:chExt cx="6025243" cy="1848757"/>
          </a:xfrm>
        </p:grpSpPr>
        <p:sp>
          <p:nvSpPr>
            <p:cNvPr id="20" name="Freeform: Shape 19"/>
            <p:cNvSpPr/>
            <p:nvPr/>
          </p:nvSpPr>
          <p:spPr>
            <a:xfrm>
              <a:off x="2661557" y="1008743"/>
              <a:ext cx="6025243" cy="1239157"/>
            </a:xfrm>
            <a:custGeom>
              <a:avLst/>
              <a:gdLst>
                <a:gd name="connsiteX0" fmla="*/ 0 w 6025243"/>
                <a:gd name="connsiteY0" fmla="*/ 1765871 h 1765871"/>
                <a:gd name="connsiteX1" fmla="*/ 1856014 w 6025243"/>
                <a:gd name="connsiteY1" fmla="*/ 1085514 h 1765871"/>
                <a:gd name="connsiteX2" fmla="*/ 3788229 w 6025243"/>
                <a:gd name="connsiteY2" fmla="*/ 111242 h 1765871"/>
                <a:gd name="connsiteX3" fmla="*/ 6025243 w 6025243"/>
                <a:gd name="connsiteY3" fmla="*/ 18714 h 1765871"/>
              </a:gdLst>
              <a:ahLst/>
              <a:cxnLst>
                <a:cxn ang="0">
                  <a:pos x="connsiteX0" y="connsiteY0"/>
                </a:cxn>
                <a:cxn ang="0">
                  <a:pos x="connsiteX1" y="connsiteY1"/>
                </a:cxn>
                <a:cxn ang="0">
                  <a:pos x="connsiteX2" y="connsiteY2"/>
                </a:cxn>
                <a:cxn ang="0">
                  <a:pos x="connsiteX3" y="connsiteY3"/>
                </a:cxn>
              </a:cxnLst>
              <a:rect l="l" t="t" r="r" b="b"/>
              <a:pathLst>
                <a:path w="6025243" h="1765871">
                  <a:moveTo>
                    <a:pt x="0" y="1765871"/>
                  </a:moveTo>
                  <a:cubicBezTo>
                    <a:pt x="612321" y="1563578"/>
                    <a:pt x="1224642" y="1361286"/>
                    <a:pt x="1856014" y="1085514"/>
                  </a:cubicBezTo>
                  <a:cubicBezTo>
                    <a:pt x="2487386" y="809742"/>
                    <a:pt x="3093358" y="289042"/>
                    <a:pt x="3788229" y="111242"/>
                  </a:cubicBezTo>
                  <a:cubicBezTo>
                    <a:pt x="4483100" y="-66558"/>
                    <a:pt x="5667829" y="23250"/>
                    <a:pt x="6025243" y="18714"/>
                  </a:cubicBezTo>
                </a:path>
              </a:pathLst>
            </a:custGeom>
            <a:noFill/>
            <a:ln>
              <a:solidFill>
                <a:schemeClr val="bg1">
                  <a:alpha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21" name="Freeform: Shape 20"/>
            <p:cNvSpPr/>
            <p:nvPr/>
          </p:nvSpPr>
          <p:spPr>
            <a:xfrm>
              <a:off x="2661557" y="1008743"/>
              <a:ext cx="6025243" cy="1391557"/>
            </a:xfrm>
            <a:custGeom>
              <a:avLst/>
              <a:gdLst>
                <a:gd name="connsiteX0" fmla="*/ 0 w 6025243"/>
                <a:gd name="connsiteY0" fmla="*/ 1765871 h 1765871"/>
                <a:gd name="connsiteX1" fmla="*/ 1856014 w 6025243"/>
                <a:gd name="connsiteY1" fmla="*/ 1085514 h 1765871"/>
                <a:gd name="connsiteX2" fmla="*/ 3788229 w 6025243"/>
                <a:gd name="connsiteY2" fmla="*/ 111242 h 1765871"/>
                <a:gd name="connsiteX3" fmla="*/ 6025243 w 6025243"/>
                <a:gd name="connsiteY3" fmla="*/ 18714 h 1765871"/>
              </a:gdLst>
              <a:ahLst/>
              <a:cxnLst>
                <a:cxn ang="0">
                  <a:pos x="connsiteX0" y="connsiteY0"/>
                </a:cxn>
                <a:cxn ang="0">
                  <a:pos x="connsiteX1" y="connsiteY1"/>
                </a:cxn>
                <a:cxn ang="0">
                  <a:pos x="connsiteX2" y="connsiteY2"/>
                </a:cxn>
                <a:cxn ang="0">
                  <a:pos x="connsiteX3" y="connsiteY3"/>
                </a:cxn>
              </a:cxnLst>
              <a:rect l="l" t="t" r="r" b="b"/>
              <a:pathLst>
                <a:path w="6025243" h="1765871">
                  <a:moveTo>
                    <a:pt x="0" y="1765871"/>
                  </a:moveTo>
                  <a:cubicBezTo>
                    <a:pt x="612321" y="1563578"/>
                    <a:pt x="1224642" y="1361286"/>
                    <a:pt x="1856014" y="1085514"/>
                  </a:cubicBezTo>
                  <a:cubicBezTo>
                    <a:pt x="2487386" y="809742"/>
                    <a:pt x="3093358" y="289042"/>
                    <a:pt x="3788229" y="111242"/>
                  </a:cubicBezTo>
                  <a:cubicBezTo>
                    <a:pt x="4483100" y="-66558"/>
                    <a:pt x="5667829" y="23250"/>
                    <a:pt x="6025243" y="18714"/>
                  </a:cubicBezTo>
                </a:path>
              </a:pathLst>
            </a:custGeom>
            <a:noFill/>
            <a:ln>
              <a:solidFill>
                <a:schemeClr val="bg1">
                  <a:alpha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22" name="Freeform: Shape 21"/>
            <p:cNvSpPr/>
            <p:nvPr/>
          </p:nvSpPr>
          <p:spPr>
            <a:xfrm>
              <a:off x="2661557" y="1008743"/>
              <a:ext cx="6025243" cy="1543957"/>
            </a:xfrm>
            <a:custGeom>
              <a:avLst/>
              <a:gdLst>
                <a:gd name="connsiteX0" fmla="*/ 0 w 6025243"/>
                <a:gd name="connsiteY0" fmla="*/ 1765871 h 1765871"/>
                <a:gd name="connsiteX1" fmla="*/ 1856014 w 6025243"/>
                <a:gd name="connsiteY1" fmla="*/ 1085514 h 1765871"/>
                <a:gd name="connsiteX2" fmla="*/ 3788229 w 6025243"/>
                <a:gd name="connsiteY2" fmla="*/ 111242 h 1765871"/>
                <a:gd name="connsiteX3" fmla="*/ 6025243 w 6025243"/>
                <a:gd name="connsiteY3" fmla="*/ 18714 h 1765871"/>
              </a:gdLst>
              <a:ahLst/>
              <a:cxnLst>
                <a:cxn ang="0">
                  <a:pos x="connsiteX0" y="connsiteY0"/>
                </a:cxn>
                <a:cxn ang="0">
                  <a:pos x="connsiteX1" y="connsiteY1"/>
                </a:cxn>
                <a:cxn ang="0">
                  <a:pos x="connsiteX2" y="connsiteY2"/>
                </a:cxn>
                <a:cxn ang="0">
                  <a:pos x="connsiteX3" y="connsiteY3"/>
                </a:cxn>
              </a:cxnLst>
              <a:rect l="l" t="t" r="r" b="b"/>
              <a:pathLst>
                <a:path w="6025243" h="1765871">
                  <a:moveTo>
                    <a:pt x="0" y="1765871"/>
                  </a:moveTo>
                  <a:cubicBezTo>
                    <a:pt x="612321" y="1563578"/>
                    <a:pt x="1224642" y="1361286"/>
                    <a:pt x="1856014" y="1085514"/>
                  </a:cubicBezTo>
                  <a:cubicBezTo>
                    <a:pt x="2487386" y="809742"/>
                    <a:pt x="3093358" y="289042"/>
                    <a:pt x="3788229" y="111242"/>
                  </a:cubicBezTo>
                  <a:cubicBezTo>
                    <a:pt x="4483100" y="-66558"/>
                    <a:pt x="5667829" y="23250"/>
                    <a:pt x="6025243" y="18714"/>
                  </a:cubicBezTo>
                </a:path>
              </a:pathLst>
            </a:custGeom>
            <a:noFill/>
            <a:ln>
              <a:solidFill>
                <a:schemeClr val="bg1">
                  <a:alpha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23" name="Freeform: Shape 22"/>
            <p:cNvSpPr/>
            <p:nvPr/>
          </p:nvSpPr>
          <p:spPr>
            <a:xfrm>
              <a:off x="2661557" y="1008743"/>
              <a:ext cx="6025243" cy="1696357"/>
            </a:xfrm>
            <a:custGeom>
              <a:avLst/>
              <a:gdLst>
                <a:gd name="connsiteX0" fmla="*/ 0 w 6025243"/>
                <a:gd name="connsiteY0" fmla="*/ 1765871 h 1765871"/>
                <a:gd name="connsiteX1" fmla="*/ 1856014 w 6025243"/>
                <a:gd name="connsiteY1" fmla="*/ 1085514 h 1765871"/>
                <a:gd name="connsiteX2" fmla="*/ 3788229 w 6025243"/>
                <a:gd name="connsiteY2" fmla="*/ 111242 h 1765871"/>
                <a:gd name="connsiteX3" fmla="*/ 6025243 w 6025243"/>
                <a:gd name="connsiteY3" fmla="*/ 18714 h 1765871"/>
              </a:gdLst>
              <a:ahLst/>
              <a:cxnLst>
                <a:cxn ang="0">
                  <a:pos x="connsiteX0" y="connsiteY0"/>
                </a:cxn>
                <a:cxn ang="0">
                  <a:pos x="connsiteX1" y="connsiteY1"/>
                </a:cxn>
                <a:cxn ang="0">
                  <a:pos x="connsiteX2" y="connsiteY2"/>
                </a:cxn>
                <a:cxn ang="0">
                  <a:pos x="connsiteX3" y="connsiteY3"/>
                </a:cxn>
              </a:cxnLst>
              <a:rect l="l" t="t" r="r" b="b"/>
              <a:pathLst>
                <a:path w="6025243" h="1765871">
                  <a:moveTo>
                    <a:pt x="0" y="1765871"/>
                  </a:moveTo>
                  <a:cubicBezTo>
                    <a:pt x="612321" y="1563578"/>
                    <a:pt x="1224642" y="1361286"/>
                    <a:pt x="1856014" y="1085514"/>
                  </a:cubicBezTo>
                  <a:cubicBezTo>
                    <a:pt x="2487386" y="809742"/>
                    <a:pt x="3093358" y="289042"/>
                    <a:pt x="3788229" y="111242"/>
                  </a:cubicBezTo>
                  <a:cubicBezTo>
                    <a:pt x="4483100" y="-66558"/>
                    <a:pt x="5667829" y="23250"/>
                    <a:pt x="6025243" y="18714"/>
                  </a:cubicBezTo>
                </a:path>
              </a:pathLst>
            </a:custGeom>
            <a:noFill/>
            <a:ln>
              <a:solidFill>
                <a:schemeClr val="bg1">
                  <a:alpha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24" name="Freeform: Shape 23"/>
            <p:cNvSpPr/>
            <p:nvPr/>
          </p:nvSpPr>
          <p:spPr>
            <a:xfrm>
              <a:off x="2661557" y="1008743"/>
              <a:ext cx="6025243" cy="1848757"/>
            </a:xfrm>
            <a:custGeom>
              <a:avLst/>
              <a:gdLst>
                <a:gd name="connsiteX0" fmla="*/ 0 w 6025243"/>
                <a:gd name="connsiteY0" fmla="*/ 1765871 h 1765871"/>
                <a:gd name="connsiteX1" fmla="*/ 1856014 w 6025243"/>
                <a:gd name="connsiteY1" fmla="*/ 1085514 h 1765871"/>
                <a:gd name="connsiteX2" fmla="*/ 3788229 w 6025243"/>
                <a:gd name="connsiteY2" fmla="*/ 111242 h 1765871"/>
                <a:gd name="connsiteX3" fmla="*/ 6025243 w 6025243"/>
                <a:gd name="connsiteY3" fmla="*/ 18714 h 1765871"/>
              </a:gdLst>
              <a:ahLst/>
              <a:cxnLst>
                <a:cxn ang="0">
                  <a:pos x="connsiteX0" y="connsiteY0"/>
                </a:cxn>
                <a:cxn ang="0">
                  <a:pos x="connsiteX1" y="connsiteY1"/>
                </a:cxn>
                <a:cxn ang="0">
                  <a:pos x="connsiteX2" y="connsiteY2"/>
                </a:cxn>
                <a:cxn ang="0">
                  <a:pos x="connsiteX3" y="connsiteY3"/>
                </a:cxn>
              </a:cxnLst>
              <a:rect l="l" t="t" r="r" b="b"/>
              <a:pathLst>
                <a:path w="6025243" h="1765871">
                  <a:moveTo>
                    <a:pt x="0" y="1765871"/>
                  </a:moveTo>
                  <a:cubicBezTo>
                    <a:pt x="612321" y="1563578"/>
                    <a:pt x="1224642" y="1361286"/>
                    <a:pt x="1856014" y="1085514"/>
                  </a:cubicBezTo>
                  <a:cubicBezTo>
                    <a:pt x="2487386" y="809742"/>
                    <a:pt x="3093358" y="289042"/>
                    <a:pt x="3788229" y="111242"/>
                  </a:cubicBezTo>
                  <a:cubicBezTo>
                    <a:pt x="4483100" y="-66558"/>
                    <a:pt x="5667829" y="23250"/>
                    <a:pt x="6025243" y="18714"/>
                  </a:cubicBezTo>
                </a:path>
              </a:pathLst>
            </a:custGeom>
            <a:noFill/>
            <a:ln>
              <a:solidFill>
                <a:schemeClr val="bg1">
                  <a:alpha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grpSp>
        <p:nvGrpSpPr>
          <p:cNvPr id="25" name="Group 24"/>
          <p:cNvGrpSpPr/>
          <p:nvPr userDrawn="1"/>
        </p:nvGrpSpPr>
        <p:grpSpPr>
          <a:xfrm>
            <a:off x="5265182" y="2519312"/>
            <a:ext cx="477472" cy="477404"/>
            <a:chOff x="3766458" y="4912364"/>
            <a:chExt cx="468086" cy="468086"/>
          </a:xfrm>
        </p:grpSpPr>
        <p:sp>
          <p:nvSpPr>
            <p:cNvPr id="26" name="Oval 25"/>
            <p:cNvSpPr/>
            <p:nvPr/>
          </p:nvSpPr>
          <p:spPr>
            <a:xfrm>
              <a:off x="3766458" y="4912364"/>
              <a:ext cx="468086" cy="468086"/>
            </a:xfrm>
            <a:prstGeom prst="ellipse">
              <a:avLst/>
            </a:prstGeom>
            <a:noFill/>
            <a:ln w="28575">
              <a:solidFill>
                <a:schemeClr val="bg1">
                  <a:alpha val="7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27" name="Oval 26"/>
            <p:cNvSpPr/>
            <p:nvPr/>
          </p:nvSpPr>
          <p:spPr>
            <a:xfrm>
              <a:off x="3860079" y="5005985"/>
              <a:ext cx="280844" cy="280844"/>
            </a:xfrm>
            <a:prstGeom prst="ellipse">
              <a:avLst/>
            </a:prstGeom>
            <a:noFill/>
            <a:ln w="28575">
              <a:solidFill>
                <a:schemeClr val="bg1">
                  <a:alpha val="7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28" name="Oval 27"/>
            <p:cNvSpPr/>
            <p:nvPr/>
          </p:nvSpPr>
          <p:spPr>
            <a:xfrm>
              <a:off x="3959681" y="5105587"/>
              <a:ext cx="81640" cy="81640"/>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grpSp>
        <p:nvGrpSpPr>
          <p:cNvPr id="29" name="Group 28"/>
          <p:cNvGrpSpPr/>
          <p:nvPr userDrawn="1"/>
        </p:nvGrpSpPr>
        <p:grpSpPr>
          <a:xfrm rot="19175348" flipH="1">
            <a:off x="4645922" y="371943"/>
            <a:ext cx="3718340" cy="1346810"/>
            <a:chOff x="5347225" y="-195944"/>
            <a:chExt cx="3320143" cy="727076"/>
          </a:xfrm>
        </p:grpSpPr>
        <p:sp>
          <p:nvSpPr>
            <p:cNvPr id="30" name="Freeform: Shape 29"/>
            <p:cNvSpPr/>
            <p:nvPr/>
          </p:nvSpPr>
          <p:spPr>
            <a:xfrm flipV="1">
              <a:off x="5347225" y="261256"/>
              <a:ext cx="3320143" cy="269876"/>
            </a:xfrm>
            <a:custGeom>
              <a:avLst/>
              <a:gdLst>
                <a:gd name="connsiteX0" fmla="*/ 3320143 w 3320143"/>
                <a:gd name="connsiteY0" fmla="*/ 0 h 1357085"/>
                <a:gd name="connsiteX1" fmla="*/ 0 w 3320143"/>
                <a:gd name="connsiteY1" fmla="*/ 1357085 h 1357085"/>
                <a:gd name="connsiteX0" fmla="*/ 3320143 w 3320143"/>
                <a:gd name="connsiteY0" fmla="*/ 0 h 1357085"/>
                <a:gd name="connsiteX1" fmla="*/ 0 w 3320143"/>
                <a:gd name="connsiteY1" fmla="*/ 1357085 h 1357085"/>
                <a:gd name="connsiteX0" fmla="*/ 3320143 w 3320143"/>
                <a:gd name="connsiteY0" fmla="*/ 0 h 1357085"/>
                <a:gd name="connsiteX1" fmla="*/ 0 w 3320143"/>
                <a:gd name="connsiteY1" fmla="*/ 1357085 h 1357085"/>
              </a:gdLst>
              <a:ahLst/>
              <a:cxnLst>
                <a:cxn ang="0">
                  <a:pos x="connsiteX0" y="connsiteY0"/>
                </a:cxn>
                <a:cxn ang="0">
                  <a:pos x="connsiteX1" y="connsiteY1"/>
                </a:cxn>
              </a:cxnLst>
              <a:rect l="l" t="t" r="r" b="b"/>
              <a:pathLst>
                <a:path w="3320143" h="1357085">
                  <a:moveTo>
                    <a:pt x="3320143" y="0"/>
                  </a:moveTo>
                  <a:cubicBezTo>
                    <a:pt x="2133600" y="263676"/>
                    <a:pt x="1135743" y="1151466"/>
                    <a:pt x="0" y="1357085"/>
                  </a:cubicBezTo>
                </a:path>
              </a:pathLst>
            </a:custGeom>
            <a:noFill/>
            <a:ln>
              <a:solidFill>
                <a:schemeClr val="bg1">
                  <a:alpha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31" name="Freeform: Shape 30"/>
            <p:cNvSpPr/>
            <p:nvPr/>
          </p:nvSpPr>
          <p:spPr>
            <a:xfrm flipV="1">
              <a:off x="5347225" y="108856"/>
              <a:ext cx="3320143" cy="422276"/>
            </a:xfrm>
            <a:custGeom>
              <a:avLst/>
              <a:gdLst>
                <a:gd name="connsiteX0" fmla="*/ 3320143 w 3320143"/>
                <a:gd name="connsiteY0" fmla="*/ 0 h 1357085"/>
                <a:gd name="connsiteX1" fmla="*/ 0 w 3320143"/>
                <a:gd name="connsiteY1" fmla="*/ 1357085 h 1357085"/>
                <a:gd name="connsiteX0" fmla="*/ 3320143 w 3320143"/>
                <a:gd name="connsiteY0" fmla="*/ 0 h 1357085"/>
                <a:gd name="connsiteX1" fmla="*/ 0 w 3320143"/>
                <a:gd name="connsiteY1" fmla="*/ 1357085 h 1357085"/>
                <a:gd name="connsiteX0" fmla="*/ 3320143 w 3320143"/>
                <a:gd name="connsiteY0" fmla="*/ 0 h 1357085"/>
                <a:gd name="connsiteX1" fmla="*/ 0 w 3320143"/>
                <a:gd name="connsiteY1" fmla="*/ 1357085 h 1357085"/>
              </a:gdLst>
              <a:ahLst/>
              <a:cxnLst>
                <a:cxn ang="0">
                  <a:pos x="connsiteX0" y="connsiteY0"/>
                </a:cxn>
                <a:cxn ang="0">
                  <a:pos x="connsiteX1" y="connsiteY1"/>
                </a:cxn>
              </a:cxnLst>
              <a:rect l="l" t="t" r="r" b="b"/>
              <a:pathLst>
                <a:path w="3320143" h="1357085">
                  <a:moveTo>
                    <a:pt x="3320143" y="0"/>
                  </a:moveTo>
                  <a:cubicBezTo>
                    <a:pt x="2133600" y="263676"/>
                    <a:pt x="1135743" y="1151466"/>
                    <a:pt x="0" y="1357085"/>
                  </a:cubicBezTo>
                </a:path>
              </a:pathLst>
            </a:custGeom>
            <a:noFill/>
            <a:ln>
              <a:solidFill>
                <a:schemeClr val="bg1">
                  <a:alpha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32" name="Freeform: Shape 31"/>
            <p:cNvSpPr/>
            <p:nvPr/>
          </p:nvSpPr>
          <p:spPr>
            <a:xfrm flipV="1">
              <a:off x="5347225" y="-43544"/>
              <a:ext cx="3320143" cy="574676"/>
            </a:xfrm>
            <a:custGeom>
              <a:avLst/>
              <a:gdLst>
                <a:gd name="connsiteX0" fmla="*/ 3320143 w 3320143"/>
                <a:gd name="connsiteY0" fmla="*/ 0 h 1357085"/>
                <a:gd name="connsiteX1" fmla="*/ 0 w 3320143"/>
                <a:gd name="connsiteY1" fmla="*/ 1357085 h 1357085"/>
                <a:gd name="connsiteX0" fmla="*/ 3320143 w 3320143"/>
                <a:gd name="connsiteY0" fmla="*/ 0 h 1357085"/>
                <a:gd name="connsiteX1" fmla="*/ 0 w 3320143"/>
                <a:gd name="connsiteY1" fmla="*/ 1357085 h 1357085"/>
                <a:gd name="connsiteX0" fmla="*/ 3320143 w 3320143"/>
                <a:gd name="connsiteY0" fmla="*/ 0 h 1357085"/>
                <a:gd name="connsiteX1" fmla="*/ 0 w 3320143"/>
                <a:gd name="connsiteY1" fmla="*/ 1357085 h 1357085"/>
              </a:gdLst>
              <a:ahLst/>
              <a:cxnLst>
                <a:cxn ang="0">
                  <a:pos x="connsiteX0" y="connsiteY0"/>
                </a:cxn>
                <a:cxn ang="0">
                  <a:pos x="connsiteX1" y="connsiteY1"/>
                </a:cxn>
              </a:cxnLst>
              <a:rect l="l" t="t" r="r" b="b"/>
              <a:pathLst>
                <a:path w="3320143" h="1357085">
                  <a:moveTo>
                    <a:pt x="3320143" y="0"/>
                  </a:moveTo>
                  <a:cubicBezTo>
                    <a:pt x="2133600" y="263676"/>
                    <a:pt x="1135743" y="1151466"/>
                    <a:pt x="0" y="1357085"/>
                  </a:cubicBezTo>
                </a:path>
              </a:pathLst>
            </a:custGeom>
            <a:noFill/>
            <a:ln>
              <a:solidFill>
                <a:schemeClr val="bg1">
                  <a:alpha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33" name="Freeform: Shape 32"/>
            <p:cNvSpPr/>
            <p:nvPr/>
          </p:nvSpPr>
          <p:spPr>
            <a:xfrm flipV="1">
              <a:off x="5347225" y="-195944"/>
              <a:ext cx="3320143" cy="727076"/>
            </a:xfrm>
            <a:custGeom>
              <a:avLst/>
              <a:gdLst>
                <a:gd name="connsiteX0" fmla="*/ 3320143 w 3320143"/>
                <a:gd name="connsiteY0" fmla="*/ 0 h 1357085"/>
                <a:gd name="connsiteX1" fmla="*/ 0 w 3320143"/>
                <a:gd name="connsiteY1" fmla="*/ 1357085 h 1357085"/>
                <a:gd name="connsiteX0" fmla="*/ 3320143 w 3320143"/>
                <a:gd name="connsiteY0" fmla="*/ 0 h 1357085"/>
                <a:gd name="connsiteX1" fmla="*/ 0 w 3320143"/>
                <a:gd name="connsiteY1" fmla="*/ 1357085 h 1357085"/>
                <a:gd name="connsiteX0" fmla="*/ 3320143 w 3320143"/>
                <a:gd name="connsiteY0" fmla="*/ 0 h 1357085"/>
                <a:gd name="connsiteX1" fmla="*/ 0 w 3320143"/>
                <a:gd name="connsiteY1" fmla="*/ 1357085 h 1357085"/>
              </a:gdLst>
              <a:ahLst/>
              <a:cxnLst>
                <a:cxn ang="0">
                  <a:pos x="connsiteX0" y="connsiteY0"/>
                </a:cxn>
                <a:cxn ang="0">
                  <a:pos x="connsiteX1" y="connsiteY1"/>
                </a:cxn>
              </a:cxnLst>
              <a:rect l="l" t="t" r="r" b="b"/>
              <a:pathLst>
                <a:path w="3320143" h="1357085">
                  <a:moveTo>
                    <a:pt x="3320143" y="0"/>
                  </a:moveTo>
                  <a:cubicBezTo>
                    <a:pt x="2133600" y="263676"/>
                    <a:pt x="1135743" y="1151466"/>
                    <a:pt x="0" y="1357085"/>
                  </a:cubicBezTo>
                </a:path>
              </a:pathLst>
            </a:custGeom>
            <a:noFill/>
            <a:ln>
              <a:solidFill>
                <a:schemeClr val="bg1">
                  <a:alpha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sp>
        <p:nvSpPr>
          <p:cNvPr id="34" name="Oval 33"/>
          <p:cNvSpPr/>
          <p:nvPr userDrawn="1"/>
        </p:nvSpPr>
        <p:spPr>
          <a:xfrm>
            <a:off x="1917598" y="6114336"/>
            <a:ext cx="81045" cy="81034"/>
          </a:xfrm>
          <a:prstGeom prst="ellipse">
            <a:avLst/>
          </a:prstGeom>
          <a:solidFill>
            <a:schemeClr val="bg1">
              <a:alpha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35" name="Oval 34"/>
          <p:cNvSpPr/>
          <p:nvPr userDrawn="1"/>
        </p:nvSpPr>
        <p:spPr>
          <a:xfrm>
            <a:off x="6499223" y="5921675"/>
            <a:ext cx="81045" cy="81034"/>
          </a:xfrm>
          <a:prstGeom prst="ellipse">
            <a:avLst/>
          </a:prstGeom>
          <a:solidFill>
            <a:schemeClr val="bg1">
              <a:alpha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36" name="Oval 35"/>
          <p:cNvSpPr/>
          <p:nvPr userDrawn="1"/>
        </p:nvSpPr>
        <p:spPr>
          <a:xfrm>
            <a:off x="1873302" y="3411078"/>
            <a:ext cx="131374" cy="131355"/>
          </a:xfrm>
          <a:prstGeom prst="ellipse">
            <a:avLst/>
          </a:prstGeom>
          <a:solidFill>
            <a:schemeClr val="bg1">
              <a:alpha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37" name="Oval 36"/>
          <p:cNvSpPr/>
          <p:nvPr userDrawn="1"/>
        </p:nvSpPr>
        <p:spPr>
          <a:xfrm>
            <a:off x="889353" y="6226036"/>
            <a:ext cx="131374" cy="131355"/>
          </a:xfrm>
          <a:prstGeom prst="ellipse">
            <a:avLst/>
          </a:prstGeom>
          <a:solidFill>
            <a:schemeClr val="bg1">
              <a:alpha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38" name="Oval 37"/>
          <p:cNvSpPr/>
          <p:nvPr userDrawn="1"/>
        </p:nvSpPr>
        <p:spPr>
          <a:xfrm>
            <a:off x="1408900" y="3273190"/>
            <a:ext cx="131374" cy="131355"/>
          </a:xfrm>
          <a:prstGeom prst="ellipse">
            <a:avLst/>
          </a:prstGeom>
          <a:solidFill>
            <a:schemeClr val="bg1">
              <a:alpha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39" name="Oval 38"/>
          <p:cNvSpPr/>
          <p:nvPr userDrawn="1"/>
        </p:nvSpPr>
        <p:spPr>
          <a:xfrm>
            <a:off x="1608958" y="753121"/>
            <a:ext cx="70522" cy="70512"/>
          </a:xfrm>
          <a:prstGeom prst="ellipse">
            <a:avLst/>
          </a:prstGeom>
          <a:solidFill>
            <a:schemeClr val="bg1">
              <a:alpha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40" name="Oval 39"/>
          <p:cNvSpPr/>
          <p:nvPr userDrawn="1"/>
        </p:nvSpPr>
        <p:spPr>
          <a:xfrm>
            <a:off x="1070208" y="6571690"/>
            <a:ext cx="159141" cy="159119"/>
          </a:xfrm>
          <a:prstGeom prst="ellipse">
            <a:avLst/>
          </a:prstGeom>
          <a:solidFill>
            <a:schemeClr val="bg1">
              <a:alpha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41" name="Oval 40"/>
          <p:cNvSpPr/>
          <p:nvPr userDrawn="1"/>
        </p:nvSpPr>
        <p:spPr>
          <a:xfrm>
            <a:off x="1826913" y="2843541"/>
            <a:ext cx="159141" cy="159119"/>
          </a:xfrm>
          <a:prstGeom prst="ellipse">
            <a:avLst/>
          </a:prstGeom>
          <a:solidFill>
            <a:schemeClr val="bg1">
              <a:alpha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42" name="Oval 41"/>
          <p:cNvSpPr/>
          <p:nvPr userDrawn="1"/>
        </p:nvSpPr>
        <p:spPr>
          <a:xfrm>
            <a:off x="3109951" y="2954331"/>
            <a:ext cx="159141" cy="159119"/>
          </a:xfrm>
          <a:prstGeom prst="ellipse">
            <a:avLst/>
          </a:prstGeom>
          <a:solidFill>
            <a:schemeClr val="bg1">
              <a:alpha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nvGrpSpPr>
          <p:cNvPr id="43" name="Group 42"/>
          <p:cNvGrpSpPr/>
          <p:nvPr userDrawn="1"/>
        </p:nvGrpSpPr>
        <p:grpSpPr>
          <a:xfrm rot="5400000">
            <a:off x="-2137247" y="1750949"/>
            <a:ext cx="5249622" cy="1720720"/>
            <a:chOff x="-32657" y="4691730"/>
            <a:chExt cx="6625100" cy="2804185"/>
          </a:xfrm>
        </p:grpSpPr>
        <p:sp>
          <p:nvSpPr>
            <p:cNvPr id="44" name="Freeform: Shape 43"/>
            <p:cNvSpPr/>
            <p:nvPr/>
          </p:nvSpPr>
          <p:spPr>
            <a:xfrm>
              <a:off x="-32657" y="4691730"/>
              <a:ext cx="6625100" cy="2687163"/>
            </a:xfrm>
            <a:custGeom>
              <a:avLst/>
              <a:gdLst>
                <a:gd name="connsiteX0" fmla="*/ 0 w 6527800"/>
                <a:gd name="connsiteY0" fmla="*/ 1190184 h 2282384"/>
                <a:gd name="connsiteX1" fmla="*/ 765628 w 6527800"/>
                <a:gd name="connsiteY1" fmla="*/ 1865099 h 2282384"/>
                <a:gd name="connsiteX2" fmla="*/ 1531257 w 6527800"/>
                <a:gd name="connsiteY2" fmla="*/ 13 h 2282384"/>
                <a:gd name="connsiteX3" fmla="*/ 2140857 w 6527800"/>
                <a:gd name="connsiteY3" fmla="*/ 1897756 h 2282384"/>
                <a:gd name="connsiteX4" fmla="*/ 2804886 w 6527800"/>
                <a:gd name="connsiteY4" fmla="*/ 801927 h 2282384"/>
                <a:gd name="connsiteX5" fmla="*/ 3291114 w 6527800"/>
                <a:gd name="connsiteY5" fmla="*/ 1846956 h 2282384"/>
                <a:gd name="connsiteX6" fmla="*/ 3755571 w 6527800"/>
                <a:gd name="connsiteY6" fmla="*/ 1273641 h 2282384"/>
                <a:gd name="connsiteX7" fmla="*/ 4071257 w 6527800"/>
                <a:gd name="connsiteY7" fmla="*/ 1763499 h 2282384"/>
                <a:gd name="connsiteX8" fmla="*/ 4466771 w 6527800"/>
                <a:gd name="connsiteY8" fmla="*/ 399156 h 2282384"/>
                <a:gd name="connsiteX9" fmla="*/ 4858657 w 6527800"/>
                <a:gd name="connsiteY9" fmla="*/ 1357099 h 2282384"/>
                <a:gd name="connsiteX10" fmla="*/ 5148943 w 6527800"/>
                <a:gd name="connsiteY10" fmla="*/ 747499 h 2282384"/>
                <a:gd name="connsiteX11" fmla="*/ 5588000 w 6527800"/>
                <a:gd name="connsiteY11" fmla="*/ 1886870 h 2282384"/>
                <a:gd name="connsiteX12" fmla="*/ 6074228 w 6527800"/>
                <a:gd name="connsiteY12" fmla="*/ 928927 h 2282384"/>
                <a:gd name="connsiteX13" fmla="*/ 6527800 w 6527800"/>
                <a:gd name="connsiteY13" fmla="*/ 2282384 h 2282384"/>
                <a:gd name="connsiteX0" fmla="*/ 0 w 6625100"/>
                <a:gd name="connsiteY0" fmla="*/ 1190184 h 2687163"/>
                <a:gd name="connsiteX1" fmla="*/ 765628 w 6625100"/>
                <a:gd name="connsiteY1" fmla="*/ 1865099 h 2687163"/>
                <a:gd name="connsiteX2" fmla="*/ 1531257 w 6625100"/>
                <a:gd name="connsiteY2" fmla="*/ 13 h 2687163"/>
                <a:gd name="connsiteX3" fmla="*/ 2140857 w 6625100"/>
                <a:gd name="connsiteY3" fmla="*/ 1897756 h 2687163"/>
                <a:gd name="connsiteX4" fmla="*/ 2804886 w 6625100"/>
                <a:gd name="connsiteY4" fmla="*/ 801927 h 2687163"/>
                <a:gd name="connsiteX5" fmla="*/ 3291114 w 6625100"/>
                <a:gd name="connsiteY5" fmla="*/ 1846956 h 2687163"/>
                <a:gd name="connsiteX6" fmla="*/ 3755571 w 6625100"/>
                <a:gd name="connsiteY6" fmla="*/ 1273641 h 2687163"/>
                <a:gd name="connsiteX7" fmla="*/ 4071257 w 6625100"/>
                <a:gd name="connsiteY7" fmla="*/ 1763499 h 2687163"/>
                <a:gd name="connsiteX8" fmla="*/ 4466771 w 6625100"/>
                <a:gd name="connsiteY8" fmla="*/ 399156 h 2687163"/>
                <a:gd name="connsiteX9" fmla="*/ 4858657 w 6625100"/>
                <a:gd name="connsiteY9" fmla="*/ 1357099 h 2687163"/>
                <a:gd name="connsiteX10" fmla="*/ 5148943 w 6625100"/>
                <a:gd name="connsiteY10" fmla="*/ 747499 h 2687163"/>
                <a:gd name="connsiteX11" fmla="*/ 5588000 w 6625100"/>
                <a:gd name="connsiteY11" fmla="*/ 1886870 h 2687163"/>
                <a:gd name="connsiteX12" fmla="*/ 6074228 w 6625100"/>
                <a:gd name="connsiteY12" fmla="*/ 928927 h 2687163"/>
                <a:gd name="connsiteX13" fmla="*/ 6625100 w 6625100"/>
                <a:gd name="connsiteY13" fmla="*/ 2687163 h 2687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25100" h="2687163">
                  <a:moveTo>
                    <a:pt x="0" y="1190184"/>
                  </a:moveTo>
                  <a:cubicBezTo>
                    <a:pt x="255209" y="1626822"/>
                    <a:pt x="510419" y="2063461"/>
                    <a:pt x="765628" y="1865099"/>
                  </a:cubicBezTo>
                  <a:cubicBezTo>
                    <a:pt x="1020837" y="1666737"/>
                    <a:pt x="1302052" y="-5430"/>
                    <a:pt x="1531257" y="13"/>
                  </a:cubicBezTo>
                  <a:cubicBezTo>
                    <a:pt x="1760462" y="5456"/>
                    <a:pt x="1928585" y="1764104"/>
                    <a:pt x="2140857" y="1897756"/>
                  </a:cubicBezTo>
                  <a:cubicBezTo>
                    <a:pt x="2353129" y="2031408"/>
                    <a:pt x="2613177" y="810394"/>
                    <a:pt x="2804886" y="801927"/>
                  </a:cubicBezTo>
                  <a:cubicBezTo>
                    <a:pt x="2996595" y="793460"/>
                    <a:pt x="3132667" y="1768337"/>
                    <a:pt x="3291114" y="1846956"/>
                  </a:cubicBezTo>
                  <a:cubicBezTo>
                    <a:pt x="3449561" y="1925575"/>
                    <a:pt x="3625547" y="1287550"/>
                    <a:pt x="3755571" y="1273641"/>
                  </a:cubicBezTo>
                  <a:cubicBezTo>
                    <a:pt x="3885595" y="1259732"/>
                    <a:pt x="3952724" y="1909247"/>
                    <a:pt x="4071257" y="1763499"/>
                  </a:cubicBezTo>
                  <a:cubicBezTo>
                    <a:pt x="4189790" y="1617752"/>
                    <a:pt x="4335538" y="466889"/>
                    <a:pt x="4466771" y="399156"/>
                  </a:cubicBezTo>
                  <a:cubicBezTo>
                    <a:pt x="4598004" y="331423"/>
                    <a:pt x="4744962" y="1299042"/>
                    <a:pt x="4858657" y="1357099"/>
                  </a:cubicBezTo>
                  <a:cubicBezTo>
                    <a:pt x="4972352" y="1415156"/>
                    <a:pt x="5027386" y="659204"/>
                    <a:pt x="5148943" y="747499"/>
                  </a:cubicBezTo>
                  <a:cubicBezTo>
                    <a:pt x="5270500" y="835794"/>
                    <a:pt x="5433786" y="1856632"/>
                    <a:pt x="5588000" y="1886870"/>
                  </a:cubicBezTo>
                  <a:cubicBezTo>
                    <a:pt x="5742214" y="1917108"/>
                    <a:pt x="5901378" y="795545"/>
                    <a:pt x="6074228" y="928927"/>
                  </a:cubicBezTo>
                  <a:cubicBezTo>
                    <a:pt x="6247078" y="1062309"/>
                    <a:pt x="6476630" y="2043394"/>
                    <a:pt x="6625100" y="2687163"/>
                  </a:cubicBezTo>
                </a:path>
              </a:pathLst>
            </a:custGeom>
            <a:noFill/>
            <a:ln>
              <a:solidFill>
                <a:schemeClr val="bg1">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45" name="Freeform: Shape 44"/>
            <p:cNvSpPr/>
            <p:nvPr/>
          </p:nvSpPr>
          <p:spPr>
            <a:xfrm>
              <a:off x="-32656" y="5183779"/>
              <a:ext cx="6586180" cy="2211872"/>
            </a:xfrm>
            <a:custGeom>
              <a:avLst/>
              <a:gdLst>
                <a:gd name="connsiteX0" fmla="*/ 0 w 6527800"/>
                <a:gd name="connsiteY0" fmla="*/ 1190184 h 2282384"/>
                <a:gd name="connsiteX1" fmla="*/ 765628 w 6527800"/>
                <a:gd name="connsiteY1" fmla="*/ 1865099 h 2282384"/>
                <a:gd name="connsiteX2" fmla="*/ 1531257 w 6527800"/>
                <a:gd name="connsiteY2" fmla="*/ 13 h 2282384"/>
                <a:gd name="connsiteX3" fmla="*/ 2140857 w 6527800"/>
                <a:gd name="connsiteY3" fmla="*/ 1897756 h 2282384"/>
                <a:gd name="connsiteX4" fmla="*/ 2804886 w 6527800"/>
                <a:gd name="connsiteY4" fmla="*/ 801927 h 2282384"/>
                <a:gd name="connsiteX5" fmla="*/ 3291114 w 6527800"/>
                <a:gd name="connsiteY5" fmla="*/ 1846956 h 2282384"/>
                <a:gd name="connsiteX6" fmla="*/ 3755571 w 6527800"/>
                <a:gd name="connsiteY6" fmla="*/ 1273641 h 2282384"/>
                <a:gd name="connsiteX7" fmla="*/ 4071257 w 6527800"/>
                <a:gd name="connsiteY7" fmla="*/ 1763499 h 2282384"/>
                <a:gd name="connsiteX8" fmla="*/ 4466771 w 6527800"/>
                <a:gd name="connsiteY8" fmla="*/ 399156 h 2282384"/>
                <a:gd name="connsiteX9" fmla="*/ 4858657 w 6527800"/>
                <a:gd name="connsiteY9" fmla="*/ 1357099 h 2282384"/>
                <a:gd name="connsiteX10" fmla="*/ 5148943 w 6527800"/>
                <a:gd name="connsiteY10" fmla="*/ 747499 h 2282384"/>
                <a:gd name="connsiteX11" fmla="*/ 5588000 w 6527800"/>
                <a:gd name="connsiteY11" fmla="*/ 1886870 h 2282384"/>
                <a:gd name="connsiteX12" fmla="*/ 6074228 w 6527800"/>
                <a:gd name="connsiteY12" fmla="*/ 928927 h 2282384"/>
                <a:gd name="connsiteX13" fmla="*/ 6527800 w 6527800"/>
                <a:gd name="connsiteY13" fmla="*/ 2282384 h 2282384"/>
                <a:gd name="connsiteX0" fmla="*/ 0 w 6586180"/>
                <a:gd name="connsiteY0" fmla="*/ 1190184 h 2518602"/>
                <a:gd name="connsiteX1" fmla="*/ 765628 w 6586180"/>
                <a:gd name="connsiteY1" fmla="*/ 1865099 h 2518602"/>
                <a:gd name="connsiteX2" fmla="*/ 1531257 w 6586180"/>
                <a:gd name="connsiteY2" fmla="*/ 13 h 2518602"/>
                <a:gd name="connsiteX3" fmla="*/ 2140857 w 6586180"/>
                <a:gd name="connsiteY3" fmla="*/ 1897756 h 2518602"/>
                <a:gd name="connsiteX4" fmla="*/ 2804886 w 6586180"/>
                <a:gd name="connsiteY4" fmla="*/ 801927 h 2518602"/>
                <a:gd name="connsiteX5" fmla="*/ 3291114 w 6586180"/>
                <a:gd name="connsiteY5" fmla="*/ 1846956 h 2518602"/>
                <a:gd name="connsiteX6" fmla="*/ 3755571 w 6586180"/>
                <a:gd name="connsiteY6" fmla="*/ 1273641 h 2518602"/>
                <a:gd name="connsiteX7" fmla="*/ 4071257 w 6586180"/>
                <a:gd name="connsiteY7" fmla="*/ 1763499 h 2518602"/>
                <a:gd name="connsiteX8" fmla="*/ 4466771 w 6586180"/>
                <a:gd name="connsiteY8" fmla="*/ 399156 h 2518602"/>
                <a:gd name="connsiteX9" fmla="*/ 4858657 w 6586180"/>
                <a:gd name="connsiteY9" fmla="*/ 1357099 h 2518602"/>
                <a:gd name="connsiteX10" fmla="*/ 5148943 w 6586180"/>
                <a:gd name="connsiteY10" fmla="*/ 747499 h 2518602"/>
                <a:gd name="connsiteX11" fmla="*/ 5588000 w 6586180"/>
                <a:gd name="connsiteY11" fmla="*/ 1886870 h 2518602"/>
                <a:gd name="connsiteX12" fmla="*/ 6074228 w 6586180"/>
                <a:gd name="connsiteY12" fmla="*/ 928927 h 2518602"/>
                <a:gd name="connsiteX13" fmla="*/ 6586180 w 6586180"/>
                <a:gd name="connsiteY13" fmla="*/ 2518602 h 2518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586180" h="2518602">
                  <a:moveTo>
                    <a:pt x="0" y="1190184"/>
                  </a:moveTo>
                  <a:cubicBezTo>
                    <a:pt x="255209" y="1626822"/>
                    <a:pt x="510419" y="2063461"/>
                    <a:pt x="765628" y="1865099"/>
                  </a:cubicBezTo>
                  <a:cubicBezTo>
                    <a:pt x="1020837" y="1666737"/>
                    <a:pt x="1302052" y="-5430"/>
                    <a:pt x="1531257" y="13"/>
                  </a:cubicBezTo>
                  <a:cubicBezTo>
                    <a:pt x="1760462" y="5456"/>
                    <a:pt x="1928585" y="1764104"/>
                    <a:pt x="2140857" y="1897756"/>
                  </a:cubicBezTo>
                  <a:cubicBezTo>
                    <a:pt x="2353129" y="2031408"/>
                    <a:pt x="2613177" y="810394"/>
                    <a:pt x="2804886" y="801927"/>
                  </a:cubicBezTo>
                  <a:cubicBezTo>
                    <a:pt x="2996595" y="793460"/>
                    <a:pt x="3132667" y="1768337"/>
                    <a:pt x="3291114" y="1846956"/>
                  </a:cubicBezTo>
                  <a:cubicBezTo>
                    <a:pt x="3449561" y="1925575"/>
                    <a:pt x="3625547" y="1287550"/>
                    <a:pt x="3755571" y="1273641"/>
                  </a:cubicBezTo>
                  <a:cubicBezTo>
                    <a:pt x="3885595" y="1259732"/>
                    <a:pt x="3952724" y="1909247"/>
                    <a:pt x="4071257" y="1763499"/>
                  </a:cubicBezTo>
                  <a:cubicBezTo>
                    <a:pt x="4189790" y="1617752"/>
                    <a:pt x="4335538" y="466889"/>
                    <a:pt x="4466771" y="399156"/>
                  </a:cubicBezTo>
                  <a:cubicBezTo>
                    <a:pt x="4598004" y="331423"/>
                    <a:pt x="4744962" y="1299042"/>
                    <a:pt x="4858657" y="1357099"/>
                  </a:cubicBezTo>
                  <a:cubicBezTo>
                    <a:pt x="4972352" y="1415156"/>
                    <a:pt x="5027386" y="659204"/>
                    <a:pt x="5148943" y="747499"/>
                  </a:cubicBezTo>
                  <a:cubicBezTo>
                    <a:pt x="5270500" y="835794"/>
                    <a:pt x="5433786" y="1856632"/>
                    <a:pt x="5588000" y="1886870"/>
                  </a:cubicBezTo>
                  <a:cubicBezTo>
                    <a:pt x="5742214" y="1917108"/>
                    <a:pt x="5907865" y="823638"/>
                    <a:pt x="6074228" y="928927"/>
                  </a:cubicBezTo>
                  <a:cubicBezTo>
                    <a:pt x="6240591" y="1034216"/>
                    <a:pt x="6437710" y="1874833"/>
                    <a:pt x="6586180" y="2518602"/>
                  </a:cubicBezTo>
                </a:path>
              </a:pathLst>
            </a:custGeom>
            <a:noFill/>
            <a:ln>
              <a:solidFill>
                <a:schemeClr val="bg1">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46" name="Freeform: Shape 45"/>
            <p:cNvSpPr/>
            <p:nvPr/>
          </p:nvSpPr>
          <p:spPr>
            <a:xfrm>
              <a:off x="-32657" y="5939971"/>
              <a:ext cx="6527800" cy="1476132"/>
            </a:xfrm>
            <a:custGeom>
              <a:avLst/>
              <a:gdLst>
                <a:gd name="connsiteX0" fmla="*/ 0 w 6527800"/>
                <a:gd name="connsiteY0" fmla="*/ 1190184 h 2282384"/>
                <a:gd name="connsiteX1" fmla="*/ 765628 w 6527800"/>
                <a:gd name="connsiteY1" fmla="*/ 1865099 h 2282384"/>
                <a:gd name="connsiteX2" fmla="*/ 1531257 w 6527800"/>
                <a:gd name="connsiteY2" fmla="*/ 13 h 2282384"/>
                <a:gd name="connsiteX3" fmla="*/ 2140857 w 6527800"/>
                <a:gd name="connsiteY3" fmla="*/ 1897756 h 2282384"/>
                <a:gd name="connsiteX4" fmla="*/ 2804886 w 6527800"/>
                <a:gd name="connsiteY4" fmla="*/ 801927 h 2282384"/>
                <a:gd name="connsiteX5" fmla="*/ 3291114 w 6527800"/>
                <a:gd name="connsiteY5" fmla="*/ 1846956 h 2282384"/>
                <a:gd name="connsiteX6" fmla="*/ 3755571 w 6527800"/>
                <a:gd name="connsiteY6" fmla="*/ 1273641 h 2282384"/>
                <a:gd name="connsiteX7" fmla="*/ 4071257 w 6527800"/>
                <a:gd name="connsiteY7" fmla="*/ 1763499 h 2282384"/>
                <a:gd name="connsiteX8" fmla="*/ 4466771 w 6527800"/>
                <a:gd name="connsiteY8" fmla="*/ 399156 h 2282384"/>
                <a:gd name="connsiteX9" fmla="*/ 4858657 w 6527800"/>
                <a:gd name="connsiteY9" fmla="*/ 1357099 h 2282384"/>
                <a:gd name="connsiteX10" fmla="*/ 5148943 w 6527800"/>
                <a:gd name="connsiteY10" fmla="*/ 747499 h 2282384"/>
                <a:gd name="connsiteX11" fmla="*/ 5588000 w 6527800"/>
                <a:gd name="connsiteY11" fmla="*/ 1886870 h 2282384"/>
                <a:gd name="connsiteX12" fmla="*/ 6074228 w 6527800"/>
                <a:gd name="connsiteY12" fmla="*/ 928927 h 2282384"/>
                <a:gd name="connsiteX13" fmla="*/ 6527800 w 6527800"/>
                <a:gd name="connsiteY13" fmla="*/ 2282384 h 2282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527800" h="2282384">
                  <a:moveTo>
                    <a:pt x="0" y="1190184"/>
                  </a:moveTo>
                  <a:cubicBezTo>
                    <a:pt x="255209" y="1626822"/>
                    <a:pt x="510419" y="2063461"/>
                    <a:pt x="765628" y="1865099"/>
                  </a:cubicBezTo>
                  <a:cubicBezTo>
                    <a:pt x="1020837" y="1666737"/>
                    <a:pt x="1302052" y="-5430"/>
                    <a:pt x="1531257" y="13"/>
                  </a:cubicBezTo>
                  <a:cubicBezTo>
                    <a:pt x="1760462" y="5456"/>
                    <a:pt x="1928585" y="1764104"/>
                    <a:pt x="2140857" y="1897756"/>
                  </a:cubicBezTo>
                  <a:cubicBezTo>
                    <a:pt x="2353129" y="2031408"/>
                    <a:pt x="2613177" y="810394"/>
                    <a:pt x="2804886" y="801927"/>
                  </a:cubicBezTo>
                  <a:cubicBezTo>
                    <a:pt x="2996595" y="793460"/>
                    <a:pt x="3132667" y="1768337"/>
                    <a:pt x="3291114" y="1846956"/>
                  </a:cubicBezTo>
                  <a:cubicBezTo>
                    <a:pt x="3449561" y="1925575"/>
                    <a:pt x="3625547" y="1287550"/>
                    <a:pt x="3755571" y="1273641"/>
                  </a:cubicBezTo>
                  <a:cubicBezTo>
                    <a:pt x="3885595" y="1259732"/>
                    <a:pt x="3952724" y="1909247"/>
                    <a:pt x="4071257" y="1763499"/>
                  </a:cubicBezTo>
                  <a:cubicBezTo>
                    <a:pt x="4189790" y="1617752"/>
                    <a:pt x="4335538" y="466889"/>
                    <a:pt x="4466771" y="399156"/>
                  </a:cubicBezTo>
                  <a:cubicBezTo>
                    <a:pt x="4598004" y="331423"/>
                    <a:pt x="4744962" y="1299042"/>
                    <a:pt x="4858657" y="1357099"/>
                  </a:cubicBezTo>
                  <a:cubicBezTo>
                    <a:pt x="4972352" y="1415156"/>
                    <a:pt x="5027386" y="659204"/>
                    <a:pt x="5148943" y="747499"/>
                  </a:cubicBezTo>
                  <a:cubicBezTo>
                    <a:pt x="5270500" y="835794"/>
                    <a:pt x="5433786" y="1856632"/>
                    <a:pt x="5588000" y="1886870"/>
                  </a:cubicBezTo>
                  <a:cubicBezTo>
                    <a:pt x="5742214" y="1917108"/>
                    <a:pt x="5917595" y="863008"/>
                    <a:pt x="6074228" y="928927"/>
                  </a:cubicBezTo>
                  <a:cubicBezTo>
                    <a:pt x="6230861" y="994846"/>
                    <a:pt x="6379330" y="1638615"/>
                    <a:pt x="6527800" y="2282384"/>
                  </a:cubicBezTo>
                </a:path>
              </a:pathLst>
            </a:custGeom>
            <a:noFill/>
            <a:ln>
              <a:solidFill>
                <a:schemeClr val="bg1">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47" name="Freeform: Shape 46"/>
            <p:cNvSpPr/>
            <p:nvPr/>
          </p:nvSpPr>
          <p:spPr>
            <a:xfrm>
              <a:off x="732971" y="6452314"/>
              <a:ext cx="5762172" cy="1043601"/>
            </a:xfrm>
            <a:custGeom>
              <a:avLst/>
              <a:gdLst>
                <a:gd name="connsiteX0" fmla="*/ 0 w 6527800"/>
                <a:gd name="connsiteY0" fmla="*/ 1190184 h 2282384"/>
                <a:gd name="connsiteX1" fmla="*/ 765628 w 6527800"/>
                <a:gd name="connsiteY1" fmla="*/ 1865099 h 2282384"/>
                <a:gd name="connsiteX2" fmla="*/ 1531257 w 6527800"/>
                <a:gd name="connsiteY2" fmla="*/ 13 h 2282384"/>
                <a:gd name="connsiteX3" fmla="*/ 2140857 w 6527800"/>
                <a:gd name="connsiteY3" fmla="*/ 1897756 h 2282384"/>
                <a:gd name="connsiteX4" fmla="*/ 2804886 w 6527800"/>
                <a:gd name="connsiteY4" fmla="*/ 801927 h 2282384"/>
                <a:gd name="connsiteX5" fmla="*/ 3291114 w 6527800"/>
                <a:gd name="connsiteY5" fmla="*/ 1846956 h 2282384"/>
                <a:gd name="connsiteX6" fmla="*/ 3755571 w 6527800"/>
                <a:gd name="connsiteY6" fmla="*/ 1273641 h 2282384"/>
                <a:gd name="connsiteX7" fmla="*/ 4071257 w 6527800"/>
                <a:gd name="connsiteY7" fmla="*/ 1763499 h 2282384"/>
                <a:gd name="connsiteX8" fmla="*/ 4466771 w 6527800"/>
                <a:gd name="connsiteY8" fmla="*/ 399156 h 2282384"/>
                <a:gd name="connsiteX9" fmla="*/ 4858657 w 6527800"/>
                <a:gd name="connsiteY9" fmla="*/ 1357099 h 2282384"/>
                <a:gd name="connsiteX10" fmla="*/ 5148943 w 6527800"/>
                <a:gd name="connsiteY10" fmla="*/ 747499 h 2282384"/>
                <a:gd name="connsiteX11" fmla="*/ 5588000 w 6527800"/>
                <a:gd name="connsiteY11" fmla="*/ 1886870 h 2282384"/>
                <a:gd name="connsiteX12" fmla="*/ 6074228 w 6527800"/>
                <a:gd name="connsiteY12" fmla="*/ 928927 h 2282384"/>
                <a:gd name="connsiteX13" fmla="*/ 6527800 w 6527800"/>
                <a:gd name="connsiteY13" fmla="*/ 2282384 h 2282384"/>
                <a:gd name="connsiteX0" fmla="*/ 0 w 5762172"/>
                <a:gd name="connsiteY0" fmla="*/ 1865099 h 2282384"/>
                <a:gd name="connsiteX1" fmla="*/ 765629 w 5762172"/>
                <a:gd name="connsiteY1" fmla="*/ 13 h 2282384"/>
                <a:gd name="connsiteX2" fmla="*/ 1375229 w 5762172"/>
                <a:gd name="connsiteY2" fmla="*/ 1897756 h 2282384"/>
                <a:gd name="connsiteX3" fmla="*/ 2039258 w 5762172"/>
                <a:gd name="connsiteY3" fmla="*/ 801927 h 2282384"/>
                <a:gd name="connsiteX4" fmla="*/ 2525486 w 5762172"/>
                <a:gd name="connsiteY4" fmla="*/ 1846956 h 2282384"/>
                <a:gd name="connsiteX5" fmla="*/ 2989943 w 5762172"/>
                <a:gd name="connsiteY5" fmla="*/ 1273641 h 2282384"/>
                <a:gd name="connsiteX6" fmla="*/ 3305629 w 5762172"/>
                <a:gd name="connsiteY6" fmla="*/ 1763499 h 2282384"/>
                <a:gd name="connsiteX7" fmla="*/ 3701143 w 5762172"/>
                <a:gd name="connsiteY7" fmla="*/ 399156 h 2282384"/>
                <a:gd name="connsiteX8" fmla="*/ 4093029 w 5762172"/>
                <a:gd name="connsiteY8" fmla="*/ 1357099 h 2282384"/>
                <a:gd name="connsiteX9" fmla="*/ 4383315 w 5762172"/>
                <a:gd name="connsiteY9" fmla="*/ 747499 h 2282384"/>
                <a:gd name="connsiteX10" fmla="*/ 4822372 w 5762172"/>
                <a:gd name="connsiteY10" fmla="*/ 1886870 h 2282384"/>
                <a:gd name="connsiteX11" fmla="*/ 5308600 w 5762172"/>
                <a:gd name="connsiteY11" fmla="*/ 928927 h 2282384"/>
                <a:gd name="connsiteX12" fmla="*/ 5762172 w 5762172"/>
                <a:gd name="connsiteY12" fmla="*/ 2282384 h 2282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62172" h="2282384">
                  <a:moveTo>
                    <a:pt x="0" y="1865099"/>
                  </a:moveTo>
                  <a:cubicBezTo>
                    <a:pt x="255209" y="1666737"/>
                    <a:pt x="536424" y="-5430"/>
                    <a:pt x="765629" y="13"/>
                  </a:cubicBezTo>
                  <a:cubicBezTo>
                    <a:pt x="994834" y="5456"/>
                    <a:pt x="1162957" y="1764104"/>
                    <a:pt x="1375229" y="1897756"/>
                  </a:cubicBezTo>
                  <a:cubicBezTo>
                    <a:pt x="1587501" y="2031408"/>
                    <a:pt x="1847549" y="810394"/>
                    <a:pt x="2039258" y="801927"/>
                  </a:cubicBezTo>
                  <a:cubicBezTo>
                    <a:pt x="2230967" y="793460"/>
                    <a:pt x="2367039" y="1768337"/>
                    <a:pt x="2525486" y="1846956"/>
                  </a:cubicBezTo>
                  <a:cubicBezTo>
                    <a:pt x="2683933" y="1925575"/>
                    <a:pt x="2859919" y="1287550"/>
                    <a:pt x="2989943" y="1273641"/>
                  </a:cubicBezTo>
                  <a:cubicBezTo>
                    <a:pt x="3119967" y="1259732"/>
                    <a:pt x="3187096" y="1909247"/>
                    <a:pt x="3305629" y="1763499"/>
                  </a:cubicBezTo>
                  <a:cubicBezTo>
                    <a:pt x="3424162" y="1617752"/>
                    <a:pt x="3569910" y="466889"/>
                    <a:pt x="3701143" y="399156"/>
                  </a:cubicBezTo>
                  <a:cubicBezTo>
                    <a:pt x="3832376" y="331423"/>
                    <a:pt x="3979334" y="1299042"/>
                    <a:pt x="4093029" y="1357099"/>
                  </a:cubicBezTo>
                  <a:cubicBezTo>
                    <a:pt x="4206724" y="1415156"/>
                    <a:pt x="4261758" y="659204"/>
                    <a:pt x="4383315" y="747499"/>
                  </a:cubicBezTo>
                  <a:cubicBezTo>
                    <a:pt x="4504872" y="835794"/>
                    <a:pt x="4668158" y="1856632"/>
                    <a:pt x="4822372" y="1886870"/>
                  </a:cubicBezTo>
                  <a:cubicBezTo>
                    <a:pt x="4976586" y="1917108"/>
                    <a:pt x="5151967" y="863008"/>
                    <a:pt x="5308600" y="928927"/>
                  </a:cubicBezTo>
                  <a:cubicBezTo>
                    <a:pt x="5465233" y="994846"/>
                    <a:pt x="5613702" y="1638615"/>
                    <a:pt x="5762172" y="2282384"/>
                  </a:cubicBezTo>
                </a:path>
              </a:pathLst>
            </a:custGeom>
            <a:noFill/>
            <a:ln>
              <a:solidFill>
                <a:schemeClr val="bg1">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grpSp>
        <p:nvGrpSpPr>
          <p:cNvPr id="48" name="Group 47"/>
          <p:cNvGrpSpPr/>
          <p:nvPr userDrawn="1"/>
        </p:nvGrpSpPr>
        <p:grpSpPr>
          <a:xfrm rot="4500000">
            <a:off x="748325" y="1574007"/>
            <a:ext cx="1419718" cy="3506462"/>
            <a:chOff x="1113971" y="3497757"/>
            <a:chExt cx="1150258" cy="3142530"/>
          </a:xfrm>
        </p:grpSpPr>
        <p:sp>
          <p:nvSpPr>
            <p:cNvPr id="49" name="Freeform: Shape 48"/>
            <p:cNvSpPr/>
            <p:nvPr/>
          </p:nvSpPr>
          <p:spPr>
            <a:xfrm>
              <a:off x="1113971" y="3497944"/>
              <a:ext cx="1150258"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Lst>
              <a:ahLst/>
              <a:cxnLst>
                <a:cxn ang="0">
                  <a:pos x="connsiteX0" y="connsiteY0"/>
                </a:cxn>
                <a:cxn ang="0">
                  <a:pos x="connsiteX1" y="connsiteY1"/>
                </a:cxn>
                <a:cxn ang="0">
                  <a:pos x="connsiteX2" y="connsiteY2"/>
                </a:cxn>
              </a:cxnLst>
              <a:rect l="l" t="t" r="r" b="b"/>
              <a:pathLst>
                <a:path w="1150258" h="3142343">
                  <a:moveTo>
                    <a:pt x="0" y="3142343"/>
                  </a:moveTo>
                  <a:cubicBezTo>
                    <a:pt x="259745" y="1577521"/>
                    <a:pt x="410633" y="524329"/>
                    <a:pt x="711200" y="0"/>
                  </a:cubicBezTo>
                  <a:cubicBezTo>
                    <a:pt x="732367" y="948871"/>
                    <a:pt x="848784" y="2375807"/>
                    <a:pt x="1150258" y="3066143"/>
                  </a:cubicBezTo>
                </a:path>
              </a:pathLst>
            </a:custGeom>
            <a:noFill/>
            <a:ln w="19050" cap="rnd">
              <a:solidFill>
                <a:schemeClr val="bg1">
                  <a:alpha val="4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50" name="Freeform: Shape 49"/>
            <p:cNvSpPr/>
            <p:nvPr/>
          </p:nvSpPr>
          <p:spPr>
            <a:xfrm>
              <a:off x="1201058" y="3497943"/>
              <a:ext cx="885371"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1013223"/>
                <a:gd name="connsiteY0" fmla="*/ 3142343 h 3142343"/>
                <a:gd name="connsiteX1" fmla="*/ 711200 w 1013223"/>
                <a:gd name="connsiteY1" fmla="*/ 0 h 3142343"/>
                <a:gd name="connsiteX2" fmla="*/ 1013223 w 1013223"/>
                <a:gd name="connsiteY2" fmla="*/ 3077029 h 3142343"/>
                <a:gd name="connsiteX0" fmla="*/ 0 w 1013223"/>
                <a:gd name="connsiteY0" fmla="*/ 3142343 h 3142343"/>
                <a:gd name="connsiteX1" fmla="*/ 711200 w 1013223"/>
                <a:gd name="connsiteY1" fmla="*/ 0 h 3142343"/>
                <a:gd name="connsiteX2" fmla="*/ 1013223 w 1013223"/>
                <a:gd name="connsiteY2" fmla="*/ 3077029 h 3142343"/>
                <a:gd name="connsiteX0" fmla="*/ 0 w 1013223"/>
                <a:gd name="connsiteY0" fmla="*/ 3142343 h 3142343"/>
                <a:gd name="connsiteX1" fmla="*/ 711200 w 1013223"/>
                <a:gd name="connsiteY1" fmla="*/ 0 h 3142343"/>
                <a:gd name="connsiteX2" fmla="*/ 1013223 w 1013223"/>
                <a:gd name="connsiteY2" fmla="*/ 3077029 h 3142343"/>
              </a:gdLst>
              <a:ahLst/>
              <a:cxnLst>
                <a:cxn ang="0">
                  <a:pos x="connsiteX0" y="connsiteY0"/>
                </a:cxn>
                <a:cxn ang="0">
                  <a:pos x="connsiteX1" y="connsiteY1"/>
                </a:cxn>
                <a:cxn ang="0">
                  <a:pos x="connsiteX2" y="connsiteY2"/>
                </a:cxn>
              </a:cxnLst>
              <a:rect l="l" t="t" r="r" b="b"/>
              <a:pathLst>
                <a:path w="1013223" h="3142343">
                  <a:moveTo>
                    <a:pt x="0" y="3142343"/>
                  </a:moveTo>
                  <a:cubicBezTo>
                    <a:pt x="259745" y="1577521"/>
                    <a:pt x="410633" y="524329"/>
                    <a:pt x="711200" y="0"/>
                  </a:cubicBezTo>
                  <a:cubicBezTo>
                    <a:pt x="691880" y="954314"/>
                    <a:pt x="820754" y="2288721"/>
                    <a:pt x="1013223" y="3077029"/>
                  </a:cubicBezTo>
                </a:path>
              </a:pathLst>
            </a:custGeom>
            <a:noFill/>
            <a:ln w="19050" cap="rnd">
              <a:solidFill>
                <a:schemeClr val="bg1">
                  <a:alpha val="4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51" name="Freeform: Shape 50"/>
            <p:cNvSpPr/>
            <p:nvPr/>
          </p:nvSpPr>
          <p:spPr>
            <a:xfrm>
              <a:off x="1527273" y="3498130"/>
              <a:ext cx="296864" cy="3128736"/>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711911"/>
                <a:gd name="connsiteY0" fmla="*/ 3142343 h 3142343"/>
                <a:gd name="connsiteX1" fmla="*/ 711200 w 711911"/>
                <a:gd name="connsiteY1" fmla="*/ 0 h 3142343"/>
                <a:gd name="connsiteX2" fmla="*/ 573840 w 711911"/>
                <a:gd name="connsiteY2" fmla="*/ 3115128 h 3142343"/>
                <a:gd name="connsiteX0" fmla="*/ 0 w 711199"/>
                <a:gd name="connsiteY0" fmla="*/ 3142343 h 3142343"/>
                <a:gd name="connsiteX1" fmla="*/ 711200 w 711199"/>
                <a:gd name="connsiteY1" fmla="*/ 0 h 3142343"/>
                <a:gd name="connsiteX2" fmla="*/ 573840 w 711199"/>
                <a:gd name="connsiteY2" fmla="*/ 3115128 h 3142343"/>
                <a:gd name="connsiteX0" fmla="*/ 0 w 610465"/>
                <a:gd name="connsiteY0" fmla="*/ 3128736 h 3128736"/>
                <a:gd name="connsiteX1" fmla="*/ 610466 w 610465"/>
                <a:gd name="connsiteY1" fmla="*/ 0 h 3128736"/>
                <a:gd name="connsiteX2" fmla="*/ 473106 w 610465"/>
                <a:gd name="connsiteY2" fmla="*/ 3115128 h 3128736"/>
                <a:gd name="connsiteX0" fmla="*/ 0 w 610465"/>
                <a:gd name="connsiteY0" fmla="*/ 3128736 h 3128736"/>
                <a:gd name="connsiteX1" fmla="*/ 610466 w 610465"/>
                <a:gd name="connsiteY1" fmla="*/ 0 h 3128736"/>
                <a:gd name="connsiteX2" fmla="*/ 473106 w 610465"/>
                <a:gd name="connsiteY2" fmla="*/ 3115128 h 3128736"/>
              </a:gdLst>
              <a:ahLst/>
              <a:cxnLst>
                <a:cxn ang="0">
                  <a:pos x="connsiteX0" y="connsiteY0"/>
                </a:cxn>
                <a:cxn ang="0">
                  <a:pos x="connsiteX1" y="connsiteY1"/>
                </a:cxn>
                <a:cxn ang="0">
                  <a:pos x="connsiteX2" y="connsiteY2"/>
                </a:cxn>
              </a:cxnLst>
              <a:rect l="l" t="t" r="r" b="b"/>
              <a:pathLst>
                <a:path w="610465" h="3128736">
                  <a:moveTo>
                    <a:pt x="0" y="3128736"/>
                  </a:moveTo>
                  <a:cubicBezTo>
                    <a:pt x="58280" y="1629229"/>
                    <a:pt x="309899" y="524329"/>
                    <a:pt x="610466" y="0"/>
                  </a:cubicBezTo>
                  <a:cubicBezTo>
                    <a:pt x="402185" y="888999"/>
                    <a:pt x="171632" y="2424792"/>
                    <a:pt x="473106" y="3115128"/>
                  </a:cubicBezTo>
                </a:path>
              </a:pathLst>
            </a:custGeom>
            <a:noFill/>
            <a:ln w="19050" cap="rnd">
              <a:solidFill>
                <a:schemeClr val="bg1">
                  <a:alpha val="4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52" name="Freeform: Shape 51"/>
            <p:cNvSpPr/>
            <p:nvPr/>
          </p:nvSpPr>
          <p:spPr>
            <a:xfrm>
              <a:off x="1340028" y="3497757"/>
              <a:ext cx="572960"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839308"/>
                <a:gd name="connsiteY0" fmla="*/ 3142343 h 3142343"/>
                <a:gd name="connsiteX1" fmla="*/ 711200 w 839308"/>
                <a:gd name="connsiteY1" fmla="*/ 0 h 3142343"/>
                <a:gd name="connsiteX2" fmla="*/ 839308 w 839308"/>
                <a:gd name="connsiteY2" fmla="*/ 3104243 h 3142343"/>
                <a:gd name="connsiteX0" fmla="*/ 0 w 839308"/>
                <a:gd name="connsiteY0" fmla="*/ 3142343 h 3142343"/>
                <a:gd name="connsiteX1" fmla="*/ 711200 w 839308"/>
                <a:gd name="connsiteY1" fmla="*/ 0 h 3142343"/>
                <a:gd name="connsiteX2" fmla="*/ 839308 w 839308"/>
                <a:gd name="connsiteY2" fmla="*/ 3104243 h 3142343"/>
                <a:gd name="connsiteX0" fmla="*/ 0 w 839308"/>
                <a:gd name="connsiteY0" fmla="*/ 3142343 h 3142343"/>
                <a:gd name="connsiteX1" fmla="*/ 711200 w 839308"/>
                <a:gd name="connsiteY1" fmla="*/ 0 h 3142343"/>
                <a:gd name="connsiteX2" fmla="*/ 839308 w 839308"/>
                <a:gd name="connsiteY2" fmla="*/ 3104243 h 3142343"/>
              </a:gdLst>
              <a:ahLst/>
              <a:cxnLst>
                <a:cxn ang="0">
                  <a:pos x="connsiteX0" y="connsiteY0"/>
                </a:cxn>
                <a:cxn ang="0">
                  <a:pos x="connsiteX1" y="connsiteY1"/>
                </a:cxn>
                <a:cxn ang="0">
                  <a:pos x="connsiteX2" y="connsiteY2"/>
                </a:cxn>
              </a:cxnLst>
              <a:rect l="l" t="t" r="r" b="b"/>
              <a:pathLst>
                <a:path w="839308" h="3142343">
                  <a:moveTo>
                    <a:pt x="0" y="3142343"/>
                  </a:moveTo>
                  <a:cubicBezTo>
                    <a:pt x="259745" y="1577521"/>
                    <a:pt x="410633" y="524329"/>
                    <a:pt x="711200" y="0"/>
                  </a:cubicBezTo>
                  <a:cubicBezTo>
                    <a:pt x="640677" y="951593"/>
                    <a:pt x="661415" y="2389414"/>
                    <a:pt x="839308" y="3104243"/>
                  </a:cubicBezTo>
                </a:path>
              </a:pathLst>
            </a:custGeom>
            <a:noFill/>
            <a:ln w="19050" cap="rnd">
              <a:solidFill>
                <a:schemeClr val="bg1">
                  <a:alpha val="4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grpSp>
        <p:nvGrpSpPr>
          <p:cNvPr id="53" name="Group 52"/>
          <p:cNvGrpSpPr/>
          <p:nvPr userDrawn="1"/>
        </p:nvGrpSpPr>
        <p:grpSpPr>
          <a:xfrm rot="15300000" flipH="1">
            <a:off x="10937140" y="-312937"/>
            <a:ext cx="1622106" cy="2160773"/>
            <a:chOff x="1113971" y="3497757"/>
            <a:chExt cx="1150258" cy="3142530"/>
          </a:xfrm>
        </p:grpSpPr>
        <p:sp>
          <p:nvSpPr>
            <p:cNvPr id="54" name="Freeform: Shape 53"/>
            <p:cNvSpPr/>
            <p:nvPr/>
          </p:nvSpPr>
          <p:spPr>
            <a:xfrm>
              <a:off x="1113971" y="3497944"/>
              <a:ext cx="1150258"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Lst>
              <a:ahLst/>
              <a:cxnLst>
                <a:cxn ang="0">
                  <a:pos x="connsiteX0" y="connsiteY0"/>
                </a:cxn>
                <a:cxn ang="0">
                  <a:pos x="connsiteX1" y="connsiteY1"/>
                </a:cxn>
                <a:cxn ang="0">
                  <a:pos x="connsiteX2" y="connsiteY2"/>
                </a:cxn>
              </a:cxnLst>
              <a:rect l="l" t="t" r="r" b="b"/>
              <a:pathLst>
                <a:path w="1150258" h="3142343">
                  <a:moveTo>
                    <a:pt x="0" y="3142343"/>
                  </a:moveTo>
                  <a:cubicBezTo>
                    <a:pt x="259745" y="1577521"/>
                    <a:pt x="410633" y="524329"/>
                    <a:pt x="711200" y="0"/>
                  </a:cubicBezTo>
                  <a:cubicBezTo>
                    <a:pt x="732367" y="948871"/>
                    <a:pt x="848784" y="2375807"/>
                    <a:pt x="1150258" y="3066143"/>
                  </a:cubicBezTo>
                </a:path>
              </a:pathLst>
            </a:custGeom>
            <a:noFill/>
            <a:ln w="19050" cap="rnd">
              <a:solidFill>
                <a:schemeClr val="bg1">
                  <a:alpha val="4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55" name="Freeform: Shape 54"/>
            <p:cNvSpPr/>
            <p:nvPr/>
          </p:nvSpPr>
          <p:spPr>
            <a:xfrm>
              <a:off x="1201058" y="3497943"/>
              <a:ext cx="885371"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1013223"/>
                <a:gd name="connsiteY0" fmla="*/ 3142343 h 3142343"/>
                <a:gd name="connsiteX1" fmla="*/ 711200 w 1013223"/>
                <a:gd name="connsiteY1" fmla="*/ 0 h 3142343"/>
                <a:gd name="connsiteX2" fmla="*/ 1013223 w 1013223"/>
                <a:gd name="connsiteY2" fmla="*/ 3077029 h 3142343"/>
                <a:gd name="connsiteX0" fmla="*/ 0 w 1013223"/>
                <a:gd name="connsiteY0" fmla="*/ 3142343 h 3142343"/>
                <a:gd name="connsiteX1" fmla="*/ 711200 w 1013223"/>
                <a:gd name="connsiteY1" fmla="*/ 0 h 3142343"/>
                <a:gd name="connsiteX2" fmla="*/ 1013223 w 1013223"/>
                <a:gd name="connsiteY2" fmla="*/ 3077029 h 3142343"/>
                <a:gd name="connsiteX0" fmla="*/ 0 w 1013223"/>
                <a:gd name="connsiteY0" fmla="*/ 3142343 h 3142343"/>
                <a:gd name="connsiteX1" fmla="*/ 711200 w 1013223"/>
                <a:gd name="connsiteY1" fmla="*/ 0 h 3142343"/>
                <a:gd name="connsiteX2" fmla="*/ 1013223 w 1013223"/>
                <a:gd name="connsiteY2" fmla="*/ 3077029 h 3142343"/>
              </a:gdLst>
              <a:ahLst/>
              <a:cxnLst>
                <a:cxn ang="0">
                  <a:pos x="connsiteX0" y="connsiteY0"/>
                </a:cxn>
                <a:cxn ang="0">
                  <a:pos x="connsiteX1" y="connsiteY1"/>
                </a:cxn>
                <a:cxn ang="0">
                  <a:pos x="connsiteX2" y="connsiteY2"/>
                </a:cxn>
              </a:cxnLst>
              <a:rect l="l" t="t" r="r" b="b"/>
              <a:pathLst>
                <a:path w="1013223" h="3142343">
                  <a:moveTo>
                    <a:pt x="0" y="3142343"/>
                  </a:moveTo>
                  <a:cubicBezTo>
                    <a:pt x="259745" y="1577521"/>
                    <a:pt x="410633" y="524329"/>
                    <a:pt x="711200" y="0"/>
                  </a:cubicBezTo>
                  <a:cubicBezTo>
                    <a:pt x="691880" y="954314"/>
                    <a:pt x="820754" y="2288721"/>
                    <a:pt x="1013223" y="3077029"/>
                  </a:cubicBezTo>
                </a:path>
              </a:pathLst>
            </a:custGeom>
            <a:noFill/>
            <a:ln w="19050" cap="rnd">
              <a:solidFill>
                <a:schemeClr val="bg1">
                  <a:alpha val="4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56" name="Freeform: Shape 55"/>
            <p:cNvSpPr/>
            <p:nvPr/>
          </p:nvSpPr>
          <p:spPr>
            <a:xfrm>
              <a:off x="1527273" y="3498130"/>
              <a:ext cx="296864" cy="3128736"/>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711911"/>
                <a:gd name="connsiteY0" fmla="*/ 3142343 h 3142343"/>
                <a:gd name="connsiteX1" fmla="*/ 711200 w 711911"/>
                <a:gd name="connsiteY1" fmla="*/ 0 h 3142343"/>
                <a:gd name="connsiteX2" fmla="*/ 573840 w 711911"/>
                <a:gd name="connsiteY2" fmla="*/ 3115128 h 3142343"/>
                <a:gd name="connsiteX0" fmla="*/ 0 w 711199"/>
                <a:gd name="connsiteY0" fmla="*/ 3142343 h 3142343"/>
                <a:gd name="connsiteX1" fmla="*/ 711200 w 711199"/>
                <a:gd name="connsiteY1" fmla="*/ 0 h 3142343"/>
                <a:gd name="connsiteX2" fmla="*/ 573840 w 711199"/>
                <a:gd name="connsiteY2" fmla="*/ 3115128 h 3142343"/>
                <a:gd name="connsiteX0" fmla="*/ 0 w 610465"/>
                <a:gd name="connsiteY0" fmla="*/ 3128736 h 3128736"/>
                <a:gd name="connsiteX1" fmla="*/ 610466 w 610465"/>
                <a:gd name="connsiteY1" fmla="*/ 0 h 3128736"/>
                <a:gd name="connsiteX2" fmla="*/ 473106 w 610465"/>
                <a:gd name="connsiteY2" fmla="*/ 3115128 h 3128736"/>
                <a:gd name="connsiteX0" fmla="*/ 0 w 610465"/>
                <a:gd name="connsiteY0" fmla="*/ 3128736 h 3128736"/>
                <a:gd name="connsiteX1" fmla="*/ 610466 w 610465"/>
                <a:gd name="connsiteY1" fmla="*/ 0 h 3128736"/>
                <a:gd name="connsiteX2" fmla="*/ 473106 w 610465"/>
                <a:gd name="connsiteY2" fmla="*/ 3115128 h 3128736"/>
              </a:gdLst>
              <a:ahLst/>
              <a:cxnLst>
                <a:cxn ang="0">
                  <a:pos x="connsiteX0" y="connsiteY0"/>
                </a:cxn>
                <a:cxn ang="0">
                  <a:pos x="connsiteX1" y="connsiteY1"/>
                </a:cxn>
                <a:cxn ang="0">
                  <a:pos x="connsiteX2" y="connsiteY2"/>
                </a:cxn>
              </a:cxnLst>
              <a:rect l="l" t="t" r="r" b="b"/>
              <a:pathLst>
                <a:path w="610465" h="3128736">
                  <a:moveTo>
                    <a:pt x="0" y="3128736"/>
                  </a:moveTo>
                  <a:cubicBezTo>
                    <a:pt x="58280" y="1629229"/>
                    <a:pt x="309899" y="524329"/>
                    <a:pt x="610466" y="0"/>
                  </a:cubicBezTo>
                  <a:cubicBezTo>
                    <a:pt x="402185" y="888999"/>
                    <a:pt x="171632" y="2424792"/>
                    <a:pt x="473106" y="3115128"/>
                  </a:cubicBezTo>
                </a:path>
              </a:pathLst>
            </a:custGeom>
            <a:noFill/>
            <a:ln w="19050" cap="rnd">
              <a:solidFill>
                <a:schemeClr val="bg1">
                  <a:alpha val="4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57" name="Freeform: Shape 56"/>
            <p:cNvSpPr/>
            <p:nvPr/>
          </p:nvSpPr>
          <p:spPr>
            <a:xfrm>
              <a:off x="1340028" y="3497757"/>
              <a:ext cx="572960"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839308"/>
                <a:gd name="connsiteY0" fmla="*/ 3142343 h 3142343"/>
                <a:gd name="connsiteX1" fmla="*/ 711200 w 839308"/>
                <a:gd name="connsiteY1" fmla="*/ 0 h 3142343"/>
                <a:gd name="connsiteX2" fmla="*/ 839308 w 839308"/>
                <a:gd name="connsiteY2" fmla="*/ 3104243 h 3142343"/>
                <a:gd name="connsiteX0" fmla="*/ 0 w 839308"/>
                <a:gd name="connsiteY0" fmla="*/ 3142343 h 3142343"/>
                <a:gd name="connsiteX1" fmla="*/ 711200 w 839308"/>
                <a:gd name="connsiteY1" fmla="*/ 0 h 3142343"/>
                <a:gd name="connsiteX2" fmla="*/ 839308 w 839308"/>
                <a:gd name="connsiteY2" fmla="*/ 3104243 h 3142343"/>
                <a:gd name="connsiteX0" fmla="*/ 0 w 839308"/>
                <a:gd name="connsiteY0" fmla="*/ 3142343 h 3142343"/>
                <a:gd name="connsiteX1" fmla="*/ 711200 w 839308"/>
                <a:gd name="connsiteY1" fmla="*/ 0 h 3142343"/>
                <a:gd name="connsiteX2" fmla="*/ 839308 w 839308"/>
                <a:gd name="connsiteY2" fmla="*/ 3104243 h 3142343"/>
              </a:gdLst>
              <a:ahLst/>
              <a:cxnLst>
                <a:cxn ang="0">
                  <a:pos x="connsiteX0" y="connsiteY0"/>
                </a:cxn>
                <a:cxn ang="0">
                  <a:pos x="connsiteX1" y="connsiteY1"/>
                </a:cxn>
                <a:cxn ang="0">
                  <a:pos x="connsiteX2" y="connsiteY2"/>
                </a:cxn>
              </a:cxnLst>
              <a:rect l="l" t="t" r="r" b="b"/>
              <a:pathLst>
                <a:path w="839308" h="3142343">
                  <a:moveTo>
                    <a:pt x="0" y="3142343"/>
                  </a:moveTo>
                  <a:cubicBezTo>
                    <a:pt x="259745" y="1577521"/>
                    <a:pt x="410633" y="524329"/>
                    <a:pt x="711200" y="0"/>
                  </a:cubicBezTo>
                  <a:cubicBezTo>
                    <a:pt x="640677" y="951593"/>
                    <a:pt x="661415" y="2389414"/>
                    <a:pt x="839308" y="3104243"/>
                  </a:cubicBezTo>
                </a:path>
              </a:pathLst>
            </a:custGeom>
            <a:noFill/>
            <a:ln w="19050" cap="rnd">
              <a:solidFill>
                <a:schemeClr val="bg1">
                  <a:alpha val="4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sp>
        <p:nvSpPr>
          <p:cNvPr id="58" name="Oval 57"/>
          <p:cNvSpPr/>
          <p:nvPr userDrawn="1"/>
        </p:nvSpPr>
        <p:spPr>
          <a:xfrm>
            <a:off x="2259271" y="696939"/>
            <a:ext cx="70522" cy="70512"/>
          </a:xfrm>
          <a:prstGeom prst="ellipse">
            <a:avLst/>
          </a:prstGeom>
          <a:solidFill>
            <a:schemeClr val="bg1">
              <a:alpha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59" name="Oval 58"/>
          <p:cNvSpPr/>
          <p:nvPr userDrawn="1"/>
        </p:nvSpPr>
        <p:spPr>
          <a:xfrm>
            <a:off x="2701376" y="683075"/>
            <a:ext cx="52413" cy="52406"/>
          </a:xfrm>
          <a:prstGeom prst="ellipse">
            <a:avLst/>
          </a:prstGeom>
          <a:solidFill>
            <a:schemeClr val="bg1">
              <a:alpha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nvGrpSpPr>
          <p:cNvPr id="60" name="Group 59"/>
          <p:cNvGrpSpPr/>
          <p:nvPr userDrawn="1"/>
        </p:nvGrpSpPr>
        <p:grpSpPr>
          <a:xfrm>
            <a:off x="5871515" y="2347330"/>
            <a:ext cx="3977258" cy="1215516"/>
            <a:chOff x="5756093" y="2301512"/>
            <a:chExt cx="3899073" cy="1191791"/>
          </a:xfrm>
        </p:grpSpPr>
        <p:sp>
          <p:nvSpPr>
            <p:cNvPr id="61" name="Oval 60"/>
            <p:cNvSpPr/>
            <p:nvPr/>
          </p:nvSpPr>
          <p:spPr>
            <a:xfrm>
              <a:off x="8266386" y="2347545"/>
              <a:ext cx="254716" cy="254716"/>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62" name="Oval 61"/>
            <p:cNvSpPr/>
            <p:nvPr/>
          </p:nvSpPr>
          <p:spPr>
            <a:xfrm>
              <a:off x="6326273" y="2776652"/>
              <a:ext cx="79452" cy="79452"/>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63" name="Oval 62"/>
            <p:cNvSpPr/>
            <p:nvPr/>
          </p:nvSpPr>
          <p:spPr>
            <a:xfrm>
              <a:off x="7275317" y="2569605"/>
              <a:ext cx="128791" cy="128791"/>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64" name="Oval 63"/>
            <p:cNvSpPr/>
            <p:nvPr/>
          </p:nvSpPr>
          <p:spPr>
            <a:xfrm>
              <a:off x="6676654" y="2855918"/>
              <a:ext cx="79452" cy="79452"/>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65" name="Oval 64"/>
            <p:cNvSpPr/>
            <p:nvPr/>
          </p:nvSpPr>
          <p:spPr>
            <a:xfrm>
              <a:off x="7021860" y="2762326"/>
              <a:ext cx="79452" cy="79452"/>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66" name="Oval 65"/>
            <p:cNvSpPr/>
            <p:nvPr/>
          </p:nvSpPr>
          <p:spPr>
            <a:xfrm>
              <a:off x="9150042" y="3113746"/>
              <a:ext cx="79452" cy="79452"/>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67" name="Oval 66"/>
            <p:cNvSpPr/>
            <p:nvPr/>
          </p:nvSpPr>
          <p:spPr>
            <a:xfrm>
              <a:off x="7521113" y="2409075"/>
              <a:ext cx="128791" cy="128791"/>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68" name="Oval 67"/>
            <p:cNvSpPr/>
            <p:nvPr/>
          </p:nvSpPr>
          <p:spPr>
            <a:xfrm>
              <a:off x="8821654" y="2895644"/>
              <a:ext cx="128791" cy="128791"/>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69" name="Oval 68"/>
            <p:cNvSpPr/>
            <p:nvPr/>
          </p:nvSpPr>
          <p:spPr>
            <a:xfrm>
              <a:off x="7911267" y="2301512"/>
              <a:ext cx="156013" cy="156013"/>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70" name="Oval 69"/>
            <p:cNvSpPr/>
            <p:nvPr/>
          </p:nvSpPr>
          <p:spPr>
            <a:xfrm>
              <a:off x="8622432" y="2646039"/>
              <a:ext cx="156013" cy="156013"/>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71" name="Oval 70"/>
            <p:cNvSpPr/>
            <p:nvPr/>
          </p:nvSpPr>
          <p:spPr>
            <a:xfrm>
              <a:off x="6046050" y="2698396"/>
              <a:ext cx="45719" cy="45719"/>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72" name="Oval 71"/>
            <p:cNvSpPr/>
            <p:nvPr/>
          </p:nvSpPr>
          <p:spPr>
            <a:xfrm>
              <a:off x="5756093" y="2768856"/>
              <a:ext cx="45719" cy="45719"/>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73" name="Oval 72"/>
            <p:cNvSpPr/>
            <p:nvPr/>
          </p:nvSpPr>
          <p:spPr>
            <a:xfrm>
              <a:off x="9364414" y="3258175"/>
              <a:ext cx="45719" cy="45719"/>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74" name="Oval 73"/>
            <p:cNvSpPr/>
            <p:nvPr/>
          </p:nvSpPr>
          <p:spPr>
            <a:xfrm>
              <a:off x="9609447" y="3447584"/>
              <a:ext cx="45719" cy="45719"/>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grpSp>
        <p:nvGrpSpPr>
          <p:cNvPr id="75" name="Group 74"/>
          <p:cNvGrpSpPr/>
          <p:nvPr userDrawn="1"/>
        </p:nvGrpSpPr>
        <p:grpSpPr>
          <a:xfrm rot="900000">
            <a:off x="9443291" y="3040404"/>
            <a:ext cx="3506768" cy="4853177"/>
            <a:chOff x="9385524" y="2790411"/>
            <a:chExt cx="3437832" cy="4758449"/>
          </a:xfrm>
        </p:grpSpPr>
        <p:sp>
          <p:nvSpPr>
            <p:cNvPr id="76" name="Freeform: Shape 75"/>
            <p:cNvSpPr/>
            <p:nvPr/>
          </p:nvSpPr>
          <p:spPr>
            <a:xfrm rot="1859816">
              <a:off x="9385524" y="2790411"/>
              <a:ext cx="2012192" cy="3930693"/>
            </a:xfrm>
            <a:custGeom>
              <a:avLst/>
              <a:gdLst>
                <a:gd name="connsiteX0" fmla="*/ 1226774 w 1394417"/>
                <a:gd name="connsiteY0" fmla="*/ 0 h 3497943"/>
                <a:gd name="connsiteX1" fmla="*/ 660717 w 1394417"/>
                <a:gd name="connsiteY1" fmla="*/ 254000 h 3497943"/>
                <a:gd name="connsiteX2" fmla="*/ 1299345 w 1394417"/>
                <a:gd name="connsiteY2" fmla="*/ 635000 h 3497943"/>
                <a:gd name="connsiteX3" fmla="*/ 317 w 1394417"/>
                <a:gd name="connsiteY3" fmla="*/ 1157514 h 3497943"/>
                <a:gd name="connsiteX4" fmla="*/ 1168717 w 1394417"/>
                <a:gd name="connsiteY4" fmla="*/ 2028371 h 3497943"/>
                <a:gd name="connsiteX5" fmla="*/ 504688 w 1394417"/>
                <a:gd name="connsiteY5" fmla="*/ 2630714 h 3497943"/>
                <a:gd name="connsiteX6" fmla="*/ 1379174 w 1394417"/>
                <a:gd name="connsiteY6" fmla="*/ 3066143 h 3497943"/>
                <a:gd name="connsiteX7" fmla="*/ 1081631 w 1394417"/>
                <a:gd name="connsiteY7" fmla="*/ 3334657 h 3497943"/>
                <a:gd name="connsiteX8" fmla="*/ 1357402 w 1394417"/>
                <a:gd name="connsiteY8" fmla="*/ 3497943 h 3497943"/>
                <a:gd name="connsiteX0" fmla="*/ 1406051 w 1406051"/>
                <a:gd name="connsiteY0" fmla="*/ 0 h 3542949"/>
                <a:gd name="connsiteX1" fmla="*/ 660717 w 1406051"/>
                <a:gd name="connsiteY1" fmla="*/ 299006 h 3542949"/>
                <a:gd name="connsiteX2" fmla="*/ 1299345 w 1406051"/>
                <a:gd name="connsiteY2" fmla="*/ 680006 h 3542949"/>
                <a:gd name="connsiteX3" fmla="*/ 317 w 1406051"/>
                <a:gd name="connsiteY3" fmla="*/ 1202520 h 3542949"/>
                <a:gd name="connsiteX4" fmla="*/ 1168717 w 1406051"/>
                <a:gd name="connsiteY4" fmla="*/ 2073377 h 3542949"/>
                <a:gd name="connsiteX5" fmla="*/ 504688 w 1406051"/>
                <a:gd name="connsiteY5" fmla="*/ 2675720 h 3542949"/>
                <a:gd name="connsiteX6" fmla="*/ 1379174 w 1406051"/>
                <a:gd name="connsiteY6" fmla="*/ 3111149 h 3542949"/>
                <a:gd name="connsiteX7" fmla="*/ 1081631 w 1406051"/>
                <a:gd name="connsiteY7" fmla="*/ 3379663 h 3542949"/>
                <a:gd name="connsiteX8" fmla="*/ 1357402 w 1406051"/>
                <a:gd name="connsiteY8" fmla="*/ 3542949 h 3542949"/>
                <a:gd name="connsiteX0" fmla="*/ 1406051 w 1442185"/>
                <a:gd name="connsiteY0" fmla="*/ 0 h 3633781"/>
                <a:gd name="connsiteX1" fmla="*/ 660717 w 1442185"/>
                <a:gd name="connsiteY1" fmla="*/ 299006 h 3633781"/>
                <a:gd name="connsiteX2" fmla="*/ 1299345 w 1442185"/>
                <a:gd name="connsiteY2" fmla="*/ 680006 h 3633781"/>
                <a:gd name="connsiteX3" fmla="*/ 317 w 1442185"/>
                <a:gd name="connsiteY3" fmla="*/ 1202520 h 3633781"/>
                <a:gd name="connsiteX4" fmla="*/ 1168717 w 1442185"/>
                <a:gd name="connsiteY4" fmla="*/ 2073377 h 3633781"/>
                <a:gd name="connsiteX5" fmla="*/ 504688 w 1442185"/>
                <a:gd name="connsiteY5" fmla="*/ 2675720 h 3633781"/>
                <a:gd name="connsiteX6" fmla="*/ 1379174 w 1442185"/>
                <a:gd name="connsiteY6" fmla="*/ 3111149 h 3633781"/>
                <a:gd name="connsiteX7" fmla="*/ 1081631 w 1442185"/>
                <a:gd name="connsiteY7" fmla="*/ 3379663 h 3633781"/>
                <a:gd name="connsiteX8" fmla="*/ 1442185 w 1442185"/>
                <a:gd name="connsiteY8" fmla="*/ 3633781 h 3633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42185" h="3633781">
                  <a:moveTo>
                    <a:pt x="1406051" y="0"/>
                  </a:moveTo>
                  <a:cubicBezTo>
                    <a:pt x="1116975" y="74083"/>
                    <a:pt x="678501" y="185672"/>
                    <a:pt x="660717" y="299006"/>
                  </a:cubicBezTo>
                  <a:cubicBezTo>
                    <a:pt x="642933" y="412340"/>
                    <a:pt x="1409412" y="529420"/>
                    <a:pt x="1299345" y="680006"/>
                  </a:cubicBezTo>
                  <a:cubicBezTo>
                    <a:pt x="1189278" y="830592"/>
                    <a:pt x="22088" y="970292"/>
                    <a:pt x="317" y="1202520"/>
                  </a:cubicBezTo>
                  <a:cubicBezTo>
                    <a:pt x="-21454" y="1434748"/>
                    <a:pt x="1084655" y="1827844"/>
                    <a:pt x="1168717" y="2073377"/>
                  </a:cubicBezTo>
                  <a:cubicBezTo>
                    <a:pt x="1252779" y="2318910"/>
                    <a:pt x="469612" y="2502758"/>
                    <a:pt x="504688" y="2675720"/>
                  </a:cubicBezTo>
                  <a:cubicBezTo>
                    <a:pt x="539764" y="2848682"/>
                    <a:pt x="1283017" y="2993825"/>
                    <a:pt x="1379174" y="3111149"/>
                  </a:cubicBezTo>
                  <a:cubicBezTo>
                    <a:pt x="1475331" y="3228473"/>
                    <a:pt x="1071129" y="3292558"/>
                    <a:pt x="1081631" y="3379663"/>
                  </a:cubicBezTo>
                  <a:cubicBezTo>
                    <a:pt x="1092133" y="3466768"/>
                    <a:pt x="1302485" y="3588121"/>
                    <a:pt x="1442185" y="3633781"/>
                  </a:cubicBezTo>
                </a:path>
              </a:pathLst>
            </a:custGeom>
            <a:noFill/>
            <a:ln>
              <a:solidFill>
                <a:schemeClr val="bg1">
                  <a:alpha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nvGrpSpPr>
            <p:cNvPr id="77" name="Group 76"/>
            <p:cNvGrpSpPr/>
            <p:nvPr/>
          </p:nvGrpSpPr>
          <p:grpSpPr>
            <a:xfrm>
              <a:off x="9659552" y="2944459"/>
              <a:ext cx="3163804" cy="4604401"/>
              <a:chOff x="9659552" y="2944459"/>
              <a:chExt cx="3163804" cy="4604401"/>
            </a:xfrm>
          </p:grpSpPr>
          <p:sp>
            <p:nvSpPr>
              <p:cNvPr id="78" name="Oval 77"/>
              <p:cNvSpPr/>
              <p:nvPr/>
            </p:nvSpPr>
            <p:spPr>
              <a:xfrm>
                <a:off x="10823866" y="3987711"/>
                <a:ext cx="79452" cy="79452"/>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nvGrpSpPr>
              <p:cNvPr id="79" name="Group 78"/>
              <p:cNvGrpSpPr/>
              <p:nvPr/>
            </p:nvGrpSpPr>
            <p:grpSpPr>
              <a:xfrm>
                <a:off x="10171356" y="3779500"/>
                <a:ext cx="468086" cy="468086"/>
                <a:chOff x="3766458" y="4912364"/>
                <a:chExt cx="468086" cy="468086"/>
              </a:xfrm>
            </p:grpSpPr>
            <p:sp>
              <p:nvSpPr>
                <p:cNvPr id="103" name="Oval 102"/>
                <p:cNvSpPr/>
                <p:nvPr/>
              </p:nvSpPr>
              <p:spPr>
                <a:xfrm>
                  <a:off x="3766458" y="4912364"/>
                  <a:ext cx="468086" cy="468086"/>
                </a:xfrm>
                <a:prstGeom prst="ellipse">
                  <a:avLst/>
                </a:prstGeom>
                <a:noFill/>
                <a:ln w="28575">
                  <a:solidFill>
                    <a:schemeClr val="bg1">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04" name="Oval 103"/>
                <p:cNvSpPr/>
                <p:nvPr/>
              </p:nvSpPr>
              <p:spPr>
                <a:xfrm>
                  <a:off x="3860079" y="5005985"/>
                  <a:ext cx="280844" cy="280844"/>
                </a:xfrm>
                <a:prstGeom prst="ellipse">
                  <a:avLst/>
                </a:prstGeom>
                <a:noFill/>
                <a:ln w="28575">
                  <a:solidFill>
                    <a:schemeClr val="bg1">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05" name="Oval 104"/>
                <p:cNvSpPr/>
                <p:nvPr/>
              </p:nvSpPr>
              <p:spPr>
                <a:xfrm>
                  <a:off x="3959681" y="5105587"/>
                  <a:ext cx="81640" cy="81640"/>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sp>
            <p:nvSpPr>
              <p:cNvPr id="80" name="Oval 79"/>
              <p:cNvSpPr/>
              <p:nvPr/>
            </p:nvSpPr>
            <p:spPr>
              <a:xfrm>
                <a:off x="11273865" y="4127326"/>
                <a:ext cx="79452" cy="79452"/>
              </a:xfrm>
              <a:prstGeom prst="ellipse">
                <a:avLst/>
              </a:prstGeom>
              <a:solidFill>
                <a:schemeClr val="bg1">
                  <a:alpha val="6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81" name="Oval 80"/>
              <p:cNvSpPr/>
              <p:nvPr/>
            </p:nvSpPr>
            <p:spPr>
              <a:xfrm>
                <a:off x="10545821" y="4457906"/>
                <a:ext cx="79452" cy="79452"/>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82" name="Oval 81"/>
              <p:cNvSpPr/>
              <p:nvPr/>
            </p:nvSpPr>
            <p:spPr>
              <a:xfrm>
                <a:off x="10739111" y="4778511"/>
                <a:ext cx="79452" cy="79452"/>
              </a:xfrm>
              <a:prstGeom prst="ellipse">
                <a:avLst/>
              </a:prstGeom>
              <a:solidFill>
                <a:schemeClr val="bg1">
                  <a:alpha val="6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83" name="Oval 82"/>
              <p:cNvSpPr/>
              <p:nvPr/>
            </p:nvSpPr>
            <p:spPr>
              <a:xfrm>
                <a:off x="10936920" y="5102324"/>
                <a:ext cx="45719" cy="45719"/>
              </a:xfrm>
              <a:prstGeom prst="ellipse">
                <a:avLst/>
              </a:prstGeom>
              <a:solidFill>
                <a:schemeClr val="bg1">
                  <a:alpha val="4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84" name="Oval 83"/>
              <p:cNvSpPr/>
              <p:nvPr/>
            </p:nvSpPr>
            <p:spPr>
              <a:xfrm>
                <a:off x="11707992" y="4265279"/>
                <a:ext cx="45719" cy="45719"/>
              </a:xfrm>
              <a:prstGeom prst="ellipse">
                <a:avLst/>
              </a:prstGeom>
              <a:solidFill>
                <a:schemeClr val="bg1">
                  <a:alpha val="4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85" name="Oval 84"/>
              <p:cNvSpPr/>
              <p:nvPr/>
            </p:nvSpPr>
            <p:spPr>
              <a:xfrm>
                <a:off x="11957613" y="4161059"/>
                <a:ext cx="45719" cy="45719"/>
              </a:xfrm>
              <a:prstGeom prst="ellipse">
                <a:avLst/>
              </a:prstGeom>
              <a:solidFill>
                <a:schemeClr val="bg1">
                  <a:alpha val="4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86" name="Oval 85"/>
              <p:cNvSpPr/>
              <p:nvPr/>
            </p:nvSpPr>
            <p:spPr>
              <a:xfrm>
                <a:off x="11057753" y="5351715"/>
                <a:ext cx="45719" cy="45719"/>
              </a:xfrm>
              <a:prstGeom prst="ellipse">
                <a:avLst/>
              </a:prstGeom>
              <a:solidFill>
                <a:schemeClr val="bg1">
                  <a:alpha val="4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87" name="Freeform: Shape 86"/>
              <p:cNvSpPr/>
              <p:nvPr/>
            </p:nvSpPr>
            <p:spPr>
              <a:xfrm rot="1859816">
                <a:off x="9942109" y="3114447"/>
                <a:ext cx="1657518" cy="3705100"/>
              </a:xfrm>
              <a:custGeom>
                <a:avLst/>
                <a:gdLst>
                  <a:gd name="connsiteX0" fmla="*/ 1226774 w 1394417"/>
                  <a:gd name="connsiteY0" fmla="*/ 0 h 3497943"/>
                  <a:gd name="connsiteX1" fmla="*/ 660717 w 1394417"/>
                  <a:gd name="connsiteY1" fmla="*/ 254000 h 3497943"/>
                  <a:gd name="connsiteX2" fmla="*/ 1299345 w 1394417"/>
                  <a:gd name="connsiteY2" fmla="*/ 635000 h 3497943"/>
                  <a:gd name="connsiteX3" fmla="*/ 317 w 1394417"/>
                  <a:gd name="connsiteY3" fmla="*/ 1157514 h 3497943"/>
                  <a:gd name="connsiteX4" fmla="*/ 1168717 w 1394417"/>
                  <a:gd name="connsiteY4" fmla="*/ 2028371 h 3497943"/>
                  <a:gd name="connsiteX5" fmla="*/ 504688 w 1394417"/>
                  <a:gd name="connsiteY5" fmla="*/ 2630714 h 3497943"/>
                  <a:gd name="connsiteX6" fmla="*/ 1379174 w 1394417"/>
                  <a:gd name="connsiteY6" fmla="*/ 3066143 h 3497943"/>
                  <a:gd name="connsiteX7" fmla="*/ 1081631 w 1394417"/>
                  <a:gd name="connsiteY7" fmla="*/ 3334657 h 3497943"/>
                  <a:gd name="connsiteX8" fmla="*/ 1357402 w 1394417"/>
                  <a:gd name="connsiteY8" fmla="*/ 3497943 h 3497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94417" h="3497943">
                    <a:moveTo>
                      <a:pt x="1226774" y="0"/>
                    </a:moveTo>
                    <a:cubicBezTo>
                      <a:pt x="937698" y="74083"/>
                      <a:pt x="648622" y="148167"/>
                      <a:pt x="660717" y="254000"/>
                    </a:cubicBezTo>
                    <a:cubicBezTo>
                      <a:pt x="672812" y="359833"/>
                      <a:pt x="1409412" y="484414"/>
                      <a:pt x="1299345" y="635000"/>
                    </a:cubicBezTo>
                    <a:cubicBezTo>
                      <a:pt x="1189278" y="785586"/>
                      <a:pt x="22088" y="925286"/>
                      <a:pt x="317" y="1157514"/>
                    </a:cubicBezTo>
                    <a:cubicBezTo>
                      <a:pt x="-21454" y="1389742"/>
                      <a:pt x="1084655" y="1782838"/>
                      <a:pt x="1168717" y="2028371"/>
                    </a:cubicBezTo>
                    <a:cubicBezTo>
                      <a:pt x="1252779" y="2273904"/>
                      <a:pt x="469612" y="2457752"/>
                      <a:pt x="504688" y="2630714"/>
                    </a:cubicBezTo>
                    <a:cubicBezTo>
                      <a:pt x="539764" y="2803676"/>
                      <a:pt x="1283017" y="2948819"/>
                      <a:pt x="1379174" y="3066143"/>
                    </a:cubicBezTo>
                    <a:cubicBezTo>
                      <a:pt x="1475331" y="3183467"/>
                      <a:pt x="1085260" y="3262690"/>
                      <a:pt x="1081631" y="3334657"/>
                    </a:cubicBezTo>
                    <a:cubicBezTo>
                      <a:pt x="1078002" y="3406624"/>
                      <a:pt x="1217702" y="3452283"/>
                      <a:pt x="1357402" y="3497943"/>
                    </a:cubicBezTo>
                  </a:path>
                </a:pathLst>
              </a:custGeom>
              <a:noFill/>
              <a:ln>
                <a:solidFill>
                  <a:schemeClr val="bg1">
                    <a:alpha val="5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nvGrpSpPr>
              <p:cNvPr id="88" name="Group 87"/>
              <p:cNvGrpSpPr/>
              <p:nvPr/>
            </p:nvGrpSpPr>
            <p:grpSpPr>
              <a:xfrm>
                <a:off x="9659552" y="6255370"/>
                <a:ext cx="511804" cy="511804"/>
                <a:chOff x="3766458" y="4912364"/>
                <a:chExt cx="468086" cy="468086"/>
              </a:xfrm>
            </p:grpSpPr>
            <p:sp>
              <p:nvSpPr>
                <p:cNvPr id="100" name="Oval 99"/>
                <p:cNvSpPr/>
                <p:nvPr/>
              </p:nvSpPr>
              <p:spPr>
                <a:xfrm>
                  <a:off x="3766458" y="4912364"/>
                  <a:ext cx="468086" cy="468086"/>
                </a:xfrm>
                <a:prstGeom prst="ellipse">
                  <a:avLst/>
                </a:prstGeom>
                <a:noFill/>
                <a:ln w="28575">
                  <a:solidFill>
                    <a:schemeClr val="bg1">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01" name="Oval 100"/>
                <p:cNvSpPr/>
                <p:nvPr/>
              </p:nvSpPr>
              <p:spPr>
                <a:xfrm>
                  <a:off x="3860079" y="5005985"/>
                  <a:ext cx="280844" cy="280844"/>
                </a:xfrm>
                <a:prstGeom prst="ellipse">
                  <a:avLst/>
                </a:prstGeom>
                <a:noFill/>
                <a:ln w="28575">
                  <a:solidFill>
                    <a:schemeClr val="bg1">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02" name="Oval 101"/>
                <p:cNvSpPr/>
                <p:nvPr/>
              </p:nvSpPr>
              <p:spPr>
                <a:xfrm>
                  <a:off x="3959681" y="5105587"/>
                  <a:ext cx="81640" cy="81640"/>
                </a:xfrm>
                <a:prstGeom prst="ellipse">
                  <a:avLst/>
                </a:prstGeom>
                <a:solidFill>
                  <a:schemeClr val="bg1">
                    <a:alpha val="6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sp>
            <p:nvSpPr>
              <p:cNvPr id="89" name="Oval 88"/>
              <p:cNvSpPr/>
              <p:nvPr/>
            </p:nvSpPr>
            <p:spPr>
              <a:xfrm>
                <a:off x="10019476" y="3733781"/>
                <a:ext cx="45719" cy="45719"/>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nvGrpSpPr>
              <p:cNvPr id="90" name="Group 89"/>
              <p:cNvGrpSpPr/>
              <p:nvPr/>
            </p:nvGrpSpPr>
            <p:grpSpPr>
              <a:xfrm rot="18900000" flipH="1">
                <a:off x="9997674" y="4364464"/>
                <a:ext cx="1590444" cy="3184396"/>
                <a:chOff x="1113971" y="3497757"/>
                <a:chExt cx="1150258" cy="3142530"/>
              </a:xfrm>
            </p:grpSpPr>
            <p:sp>
              <p:nvSpPr>
                <p:cNvPr id="96" name="Freeform: Shape 95"/>
                <p:cNvSpPr/>
                <p:nvPr/>
              </p:nvSpPr>
              <p:spPr>
                <a:xfrm>
                  <a:off x="1113971" y="3497944"/>
                  <a:ext cx="1150258"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Lst>
                  <a:ahLst/>
                  <a:cxnLst>
                    <a:cxn ang="0">
                      <a:pos x="connsiteX0" y="connsiteY0"/>
                    </a:cxn>
                    <a:cxn ang="0">
                      <a:pos x="connsiteX1" y="connsiteY1"/>
                    </a:cxn>
                    <a:cxn ang="0">
                      <a:pos x="connsiteX2" y="connsiteY2"/>
                    </a:cxn>
                  </a:cxnLst>
                  <a:rect l="l" t="t" r="r" b="b"/>
                  <a:pathLst>
                    <a:path w="1150258" h="3142343">
                      <a:moveTo>
                        <a:pt x="0" y="3142343"/>
                      </a:moveTo>
                      <a:cubicBezTo>
                        <a:pt x="259745" y="1577521"/>
                        <a:pt x="410633" y="524329"/>
                        <a:pt x="711200" y="0"/>
                      </a:cubicBezTo>
                      <a:cubicBezTo>
                        <a:pt x="732367" y="948871"/>
                        <a:pt x="848784" y="2375807"/>
                        <a:pt x="1150258" y="3066143"/>
                      </a:cubicBezTo>
                    </a:path>
                  </a:pathLst>
                </a:custGeom>
                <a:noFill/>
                <a:ln w="19050" cap="rnd">
                  <a:solidFill>
                    <a:schemeClr val="bg1">
                      <a:alpha val="3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97" name="Freeform: Shape 96"/>
                <p:cNvSpPr/>
                <p:nvPr/>
              </p:nvSpPr>
              <p:spPr>
                <a:xfrm>
                  <a:off x="1201058" y="3497943"/>
                  <a:ext cx="885371"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1013223"/>
                    <a:gd name="connsiteY0" fmla="*/ 3142343 h 3142343"/>
                    <a:gd name="connsiteX1" fmla="*/ 711200 w 1013223"/>
                    <a:gd name="connsiteY1" fmla="*/ 0 h 3142343"/>
                    <a:gd name="connsiteX2" fmla="*/ 1013223 w 1013223"/>
                    <a:gd name="connsiteY2" fmla="*/ 3077029 h 3142343"/>
                    <a:gd name="connsiteX0" fmla="*/ 0 w 1013223"/>
                    <a:gd name="connsiteY0" fmla="*/ 3142343 h 3142343"/>
                    <a:gd name="connsiteX1" fmla="*/ 711200 w 1013223"/>
                    <a:gd name="connsiteY1" fmla="*/ 0 h 3142343"/>
                    <a:gd name="connsiteX2" fmla="*/ 1013223 w 1013223"/>
                    <a:gd name="connsiteY2" fmla="*/ 3077029 h 3142343"/>
                    <a:gd name="connsiteX0" fmla="*/ 0 w 1013223"/>
                    <a:gd name="connsiteY0" fmla="*/ 3142343 h 3142343"/>
                    <a:gd name="connsiteX1" fmla="*/ 711200 w 1013223"/>
                    <a:gd name="connsiteY1" fmla="*/ 0 h 3142343"/>
                    <a:gd name="connsiteX2" fmla="*/ 1013223 w 1013223"/>
                    <a:gd name="connsiteY2" fmla="*/ 3077029 h 3142343"/>
                  </a:gdLst>
                  <a:ahLst/>
                  <a:cxnLst>
                    <a:cxn ang="0">
                      <a:pos x="connsiteX0" y="connsiteY0"/>
                    </a:cxn>
                    <a:cxn ang="0">
                      <a:pos x="connsiteX1" y="connsiteY1"/>
                    </a:cxn>
                    <a:cxn ang="0">
                      <a:pos x="connsiteX2" y="connsiteY2"/>
                    </a:cxn>
                  </a:cxnLst>
                  <a:rect l="l" t="t" r="r" b="b"/>
                  <a:pathLst>
                    <a:path w="1013223" h="3142343">
                      <a:moveTo>
                        <a:pt x="0" y="3142343"/>
                      </a:moveTo>
                      <a:cubicBezTo>
                        <a:pt x="259745" y="1577521"/>
                        <a:pt x="410633" y="524329"/>
                        <a:pt x="711200" y="0"/>
                      </a:cubicBezTo>
                      <a:cubicBezTo>
                        <a:pt x="691880" y="954314"/>
                        <a:pt x="820754" y="2288721"/>
                        <a:pt x="1013223" y="3077029"/>
                      </a:cubicBezTo>
                    </a:path>
                  </a:pathLst>
                </a:custGeom>
                <a:noFill/>
                <a:ln w="19050" cap="rnd">
                  <a:solidFill>
                    <a:schemeClr val="bg1">
                      <a:alpha val="3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98" name="Freeform: Shape 97"/>
                <p:cNvSpPr/>
                <p:nvPr/>
              </p:nvSpPr>
              <p:spPr>
                <a:xfrm>
                  <a:off x="1527273" y="3498130"/>
                  <a:ext cx="296864" cy="3128736"/>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711911"/>
                    <a:gd name="connsiteY0" fmla="*/ 3142343 h 3142343"/>
                    <a:gd name="connsiteX1" fmla="*/ 711200 w 711911"/>
                    <a:gd name="connsiteY1" fmla="*/ 0 h 3142343"/>
                    <a:gd name="connsiteX2" fmla="*/ 573840 w 711911"/>
                    <a:gd name="connsiteY2" fmla="*/ 3115128 h 3142343"/>
                    <a:gd name="connsiteX0" fmla="*/ 0 w 711199"/>
                    <a:gd name="connsiteY0" fmla="*/ 3142343 h 3142343"/>
                    <a:gd name="connsiteX1" fmla="*/ 711200 w 711199"/>
                    <a:gd name="connsiteY1" fmla="*/ 0 h 3142343"/>
                    <a:gd name="connsiteX2" fmla="*/ 573840 w 711199"/>
                    <a:gd name="connsiteY2" fmla="*/ 3115128 h 3142343"/>
                    <a:gd name="connsiteX0" fmla="*/ 0 w 610465"/>
                    <a:gd name="connsiteY0" fmla="*/ 3128736 h 3128736"/>
                    <a:gd name="connsiteX1" fmla="*/ 610466 w 610465"/>
                    <a:gd name="connsiteY1" fmla="*/ 0 h 3128736"/>
                    <a:gd name="connsiteX2" fmla="*/ 473106 w 610465"/>
                    <a:gd name="connsiteY2" fmla="*/ 3115128 h 3128736"/>
                    <a:gd name="connsiteX0" fmla="*/ 0 w 610465"/>
                    <a:gd name="connsiteY0" fmla="*/ 3128736 h 3128736"/>
                    <a:gd name="connsiteX1" fmla="*/ 610466 w 610465"/>
                    <a:gd name="connsiteY1" fmla="*/ 0 h 3128736"/>
                    <a:gd name="connsiteX2" fmla="*/ 473106 w 610465"/>
                    <a:gd name="connsiteY2" fmla="*/ 3115128 h 3128736"/>
                  </a:gdLst>
                  <a:ahLst/>
                  <a:cxnLst>
                    <a:cxn ang="0">
                      <a:pos x="connsiteX0" y="connsiteY0"/>
                    </a:cxn>
                    <a:cxn ang="0">
                      <a:pos x="connsiteX1" y="connsiteY1"/>
                    </a:cxn>
                    <a:cxn ang="0">
                      <a:pos x="connsiteX2" y="connsiteY2"/>
                    </a:cxn>
                  </a:cxnLst>
                  <a:rect l="l" t="t" r="r" b="b"/>
                  <a:pathLst>
                    <a:path w="610465" h="3128736">
                      <a:moveTo>
                        <a:pt x="0" y="3128736"/>
                      </a:moveTo>
                      <a:cubicBezTo>
                        <a:pt x="58280" y="1629229"/>
                        <a:pt x="309899" y="524329"/>
                        <a:pt x="610466" y="0"/>
                      </a:cubicBezTo>
                      <a:cubicBezTo>
                        <a:pt x="402185" y="888999"/>
                        <a:pt x="171632" y="2424792"/>
                        <a:pt x="473106" y="3115128"/>
                      </a:cubicBezTo>
                    </a:path>
                  </a:pathLst>
                </a:custGeom>
                <a:noFill/>
                <a:ln w="19050" cap="rnd">
                  <a:solidFill>
                    <a:schemeClr val="bg1">
                      <a:alpha val="3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99" name="Freeform: Shape 98"/>
                <p:cNvSpPr/>
                <p:nvPr/>
              </p:nvSpPr>
              <p:spPr>
                <a:xfrm>
                  <a:off x="1340028" y="3497757"/>
                  <a:ext cx="572960"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839308"/>
                    <a:gd name="connsiteY0" fmla="*/ 3142343 h 3142343"/>
                    <a:gd name="connsiteX1" fmla="*/ 711200 w 839308"/>
                    <a:gd name="connsiteY1" fmla="*/ 0 h 3142343"/>
                    <a:gd name="connsiteX2" fmla="*/ 839308 w 839308"/>
                    <a:gd name="connsiteY2" fmla="*/ 3104243 h 3142343"/>
                    <a:gd name="connsiteX0" fmla="*/ 0 w 839308"/>
                    <a:gd name="connsiteY0" fmla="*/ 3142343 h 3142343"/>
                    <a:gd name="connsiteX1" fmla="*/ 711200 w 839308"/>
                    <a:gd name="connsiteY1" fmla="*/ 0 h 3142343"/>
                    <a:gd name="connsiteX2" fmla="*/ 839308 w 839308"/>
                    <a:gd name="connsiteY2" fmla="*/ 3104243 h 3142343"/>
                    <a:gd name="connsiteX0" fmla="*/ 0 w 839308"/>
                    <a:gd name="connsiteY0" fmla="*/ 3142343 h 3142343"/>
                    <a:gd name="connsiteX1" fmla="*/ 711200 w 839308"/>
                    <a:gd name="connsiteY1" fmla="*/ 0 h 3142343"/>
                    <a:gd name="connsiteX2" fmla="*/ 839308 w 839308"/>
                    <a:gd name="connsiteY2" fmla="*/ 3104243 h 3142343"/>
                  </a:gdLst>
                  <a:ahLst/>
                  <a:cxnLst>
                    <a:cxn ang="0">
                      <a:pos x="connsiteX0" y="connsiteY0"/>
                    </a:cxn>
                    <a:cxn ang="0">
                      <a:pos x="connsiteX1" y="connsiteY1"/>
                    </a:cxn>
                    <a:cxn ang="0">
                      <a:pos x="connsiteX2" y="connsiteY2"/>
                    </a:cxn>
                  </a:cxnLst>
                  <a:rect l="l" t="t" r="r" b="b"/>
                  <a:pathLst>
                    <a:path w="839308" h="3142343">
                      <a:moveTo>
                        <a:pt x="0" y="3142343"/>
                      </a:moveTo>
                      <a:cubicBezTo>
                        <a:pt x="259745" y="1577521"/>
                        <a:pt x="410633" y="524329"/>
                        <a:pt x="711200" y="0"/>
                      </a:cubicBezTo>
                      <a:cubicBezTo>
                        <a:pt x="640677" y="951593"/>
                        <a:pt x="661415" y="2389414"/>
                        <a:pt x="839308" y="3104243"/>
                      </a:cubicBezTo>
                    </a:path>
                  </a:pathLst>
                </a:custGeom>
                <a:noFill/>
                <a:ln w="19050" cap="rnd">
                  <a:solidFill>
                    <a:schemeClr val="bg1">
                      <a:alpha val="3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grpSp>
            <p:nvGrpSpPr>
              <p:cNvPr id="91" name="Group 90"/>
              <p:cNvGrpSpPr/>
              <p:nvPr/>
            </p:nvGrpSpPr>
            <p:grpSpPr>
              <a:xfrm rot="7200000" flipH="1" flipV="1">
                <a:off x="10907040" y="2618587"/>
                <a:ext cx="1590444" cy="2242188"/>
                <a:chOff x="1113971" y="3497757"/>
                <a:chExt cx="1150258" cy="3142530"/>
              </a:xfrm>
            </p:grpSpPr>
            <p:sp>
              <p:nvSpPr>
                <p:cNvPr id="92" name="Freeform: Shape 91"/>
                <p:cNvSpPr/>
                <p:nvPr/>
              </p:nvSpPr>
              <p:spPr>
                <a:xfrm>
                  <a:off x="1113971" y="3497944"/>
                  <a:ext cx="1150258"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Lst>
                  <a:ahLst/>
                  <a:cxnLst>
                    <a:cxn ang="0">
                      <a:pos x="connsiteX0" y="connsiteY0"/>
                    </a:cxn>
                    <a:cxn ang="0">
                      <a:pos x="connsiteX1" y="connsiteY1"/>
                    </a:cxn>
                    <a:cxn ang="0">
                      <a:pos x="connsiteX2" y="connsiteY2"/>
                    </a:cxn>
                  </a:cxnLst>
                  <a:rect l="l" t="t" r="r" b="b"/>
                  <a:pathLst>
                    <a:path w="1150258" h="3142343">
                      <a:moveTo>
                        <a:pt x="0" y="3142343"/>
                      </a:moveTo>
                      <a:cubicBezTo>
                        <a:pt x="259745" y="1577521"/>
                        <a:pt x="410633" y="524329"/>
                        <a:pt x="711200" y="0"/>
                      </a:cubicBezTo>
                      <a:cubicBezTo>
                        <a:pt x="732367" y="948871"/>
                        <a:pt x="848784" y="2375807"/>
                        <a:pt x="1150258" y="3066143"/>
                      </a:cubicBezTo>
                    </a:path>
                  </a:pathLst>
                </a:custGeom>
                <a:noFill/>
                <a:ln w="19050" cap="rnd">
                  <a:solidFill>
                    <a:schemeClr val="bg1">
                      <a:alpha val="3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93" name="Freeform: Shape 92"/>
                <p:cNvSpPr/>
                <p:nvPr/>
              </p:nvSpPr>
              <p:spPr>
                <a:xfrm>
                  <a:off x="1201058" y="3497943"/>
                  <a:ext cx="885371"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1013223"/>
                    <a:gd name="connsiteY0" fmla="*/ 3142343 h 3142343"/>
                    <a:gd name="connsiteX1" fmla="*/ 711200 w 1013223"/>
                    <a:gd name="connsiteY1" fmla="*/ 0 h 3142343"/>
                    <a:gd name="connsiteX2" fmla="*/ 1013223 w 1013223"/>
                    <a:gd name="connsiteY2" fmla="*/ 3077029 h 3142343"/>
                    <a:gd name="connsiteX0" fmla="*/ 0 w 1013223"/>
                    <a:gd name="connsiteY0" fmla="*/ 3142343 h 3142343"/>
                    <a:gd name="connsiteX1" fmla="*/ 711200 w 1013223"/>
                    <a:gd name="connsiteY1" fmla="*/ 0 h 3142343"/>
                    <a:gd name="connsiteX2" fmla="*/ 1013223 w 1013223"/>
                    <a:gd name="connsiteY2" fmla="*/ 3077029 h 3142343"/>
                    <a:gd name="connsiteX0" fmla="*/ 0 w 1013223"/>
                    <a:gd name="connsiteY0" fmla="*/ 3142343 h 3142343"/>
                    <a:gd name="connsiteX1" fmla="*/ 711200 w 1013223"/>
                    <a:gd name="connsiteY1" fmla="*/ 0 h 3142343"/>
                    <a:gd name="connsiteX2" fmla="*/ 1013223 w 1013223"/>
                    <a:gd name="connsiteY2" fmla="*/ 3077029 h 3142343"/>
                  </a:gdLst>
                  <a:ahLst/>
                  <a:cxnLst>
                    <a:cxn ang="0">
                      <a:pos x="connsiteX0" y="connsiteY0"/>
                    </a:cxn>
                    <a:cxn ang="0">
                      <a:pos x="connsiteX1" y="connsiteY1"/>
                    </a:cxn>
                    <a:cxn ang="0">
                      <a:pos x="connsiteX2" y="connsiteY2"/>
                    </a:cxn>
                  </a:cxnLst>
                  <a:rect l="l" t="t" r="r" b="b"/>
                  <a:pathLst>
                    <a:path w="1013223" h="3142343">
                      <a:moveTo>
                        <a:pt x="0" y="3142343"/>
                      </a:moveTo>
                      <a:cubicBezTo>
                        <a:pt x="259745" y="1577521"/>
                        <a:pt x="410633" y="524329"/>
                        <a:pt x="711200" y="0"/>
                      </a:cubicBezTo>
                      <a:cubicBezTo>
                        <a:pt x="691880" y="954314"/>
                        <a:pt x="820754" y="2288721"/>
                        <a:pt x="1013223" y="3077029"/>
                      </a:cubicBezTo>
                    </a:path>
                  </a:pathLst>
                </a:custGeom>
                <a:noFill/>
                <a:ln w="19050" cap="rnd">
                  <a:solidFill>
                    <a:schemeClr val="bg1">
                      <a:alpha val="3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94" name="Freeform: Shape 93"/>
                <p:cNvSpPr/>
                <p:nvPr/>
              </p:nvSpPr>
              <p:spPr>
                <a:xfrm>
                  <a:off x="1527273" y="3498130"/>
                  <a:ext cx="296864" cy="3128736"/>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711911"/>
                    <a:gd name="connsiteY0" fmla="*/ 3142343 h 3142343"/>
                    <a:gd name="connsiteX1" fmla="*/ 711200 w 711911"/>
                    <a:gd name="connsiteY1" fmla="*/ 0 h 3142343"/>
                    <a:gd name="connsiteX2" fmla="*/ 573840 w 711911"/>
                    <a:gd name="connsiteY2" fmla="*/ 3115128 h 3142343"/>
                    <a:gd name="connsiteX0" fmla="*/ 0 w 711199"/>
                    <a:gd name="connsiteY0" fmla="*/ 3142343 h 3142343"/>
                    <a:gd name="connsiteX1" fmla="*/ 711200 w 711199"/>
                    <a:gd name="connsiteY1" fmla="*/ 0 h 3142343"/>
                    <a:gd name="connsiteX2" fmla="*/ 573840 w 711199"/>
                    <a:gd name="connsiteY2" fmla="*/ 3115128 h 3142343"/>
                    <a:gd name="connsiteX0" fmla="*/ 0 w 610465"/>
                    <a:gd name="connsiteY0" fmla="*/ 3128736 h 3128736"/>
                    <a:gd name="connsiteX1" fmla="*/ 610466 w 610465"/>
                    <a:gd name="connsiteY1" fmla="*/ 0 h 3128736"/>
                    <a:gd name="connsiteX2" fmla="*/ 473106 w 610465"/>
                    <a:gd name="connsiteY2" fmla="*/ 3115128 h 3128736"/>
                    <a:gd name="connsiteX0" fmla="*/ 0 w 610465"/>
                    <a:gd name="connsiteY0" fmla="*/ 3128736 h 3128736"/>
                    <a:gd name="connsiteX1" fmla="*/ 610466 w 610465"/>
                    <a:gd name="connsiteY1" fmla="*/ 0 h 3128736"/>
                    <a:gd name="connsiteX2" fmla="*/ 473106 w 610465"/>
                    <a:gd name="connsiteY2" fmla="*/ 3115128 h 3128736"/>
                  </a:gdLst>
                  <a:ahLst/>
                  <a:cxnLst>
                    <a:cxn ang="0">
                      <a:pos x="connsiteX0" y="connsiteY0"/>
                    </a:cxn>
                    <a:cxn ang="0">
                      <a:pos x="connsiteX1" y="connsiteY1"/>
                    </a:cxn>
                    <a:cxn ang="0">
                      <a:pos x="connsiteX2" y="connsiteY2"/>
                    </a:cxn>
                  </a:cxnLst>
                  <a:rect l="l" t="t" r="r" b="b"/>
                  <a:pathLst>
                    <a:path w="610465" h="3128736">
                      <a:moveTo>
                        <a:pt x="0" y="3128736"/>
                      </a:moveTo>
                      <a:cubicBezTo>
                        <a:pt x="58280" y="1629229"/>
                        <a:pt x="309899" y="524329"/>
                        <a:pt x="610466" y="0"/>
                      </a:cubicBezTo>
                      <a:cubicBezTo>
                        <a:pt x="402185" y="888999"/>
                        <a:pt x="171632" y="2424792"/>
                        <a:pt x="473106" y="3115128"/>
                      </a:cubicBezTo>
                    </a:path>
                  </a:pathLst>
                </a:custGeom>
                <a:noFill/>
                <a:ln w="19050" cap="rnd">
                  <a:solidFill>
                    <a:schemeClr val="bg1">
                      <a:alpha val="3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95" name="Freeform: Shape 94"/>
                <p:cNvSpPr/>
                <p:nvPr/>
              </p:nvSpPr>
              <p:spPr>
                <a:xfrm>
                  <a:off x="1340028" y="3497757"/>
                  <a:ext cx="572960"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839308"/>
                    <a:gd name="connsiteY0" fmla="*/ 3142343 h 3142343"/>
                    <a:gd name="connsiteX1" fmla="*/ 711200 w 839308"/>
                    <a:gd name="connsiteY1" fmla="*/ 0 h 3142343"/>
                    <a:gd name="connsiteX2" fmla="*/ 839308 w 839308"/>
                    <a:gd name="connsiteY2" fmla="*/ 3104243 h 3142343"/>
                    <a:gd name="connsiteX0" fmla="*/ 0 w 839308"/>
                    <a:gd name="connsiteY0" fmla="*/ 3142343 h 3142343"/>
                    <a:gd name="connsiteX1" fmla="*/ 711200 w 839308"/>
                    <a:gd name="connsiteY1" fmla="*/ 0 h 3142343"/>
                    <a:gd name="connsiteX2" fmla="*/ 839308 w 839308"/>
                    <a:gd name="connsiteY2" fmla="*/ 3104243 h 3142343"/>
                    <a:gd name="connsiteX0" fmla="*/ 0 w 839308"/>
                    <a:gd name="connsiteY0" fmla="*/ 3142343 h 3142343"/>
                    <a:gd name="connsiteX1" fmla="*/ 711200 w 839308"/>
                    <a:gd name="connsiteY1" fmla="*/ 0 h 3142343"/>
                    <a:gd name="connsiteX2" fmla="*/ 839308 w 839308"/>
                    <a:gd name="connsiteY2" fmla="*/ 3104243 h 3142343"/>
                  </a:gdLst>
                  <a:ahLst/>
                  <a:cxnLst>
                    <a:cxn ang="0">
                      <a:pos x="connsiteX0" y="connsiteY0"/>
                    </a:cxn>
                    <a:cxn ang="0">
                      <a:pos x="connsiteX1" y="connsiteY1"/>
                    </a:cxn>
                    <a:cxn ang="0">
                      <a:pos x="connsiteX2" y="connsiteY2"/>
                    </a:cxn>
                  </a:cxnLst>
                  <a:rect l="l" t="t" r="r" b="b"/>
                  <a:pathLst>
                    <a:path w="839308" h="3142343">
                      <a:moveTo>
                        <a:pt x="0" y="3142343"/>
                      </a:moveTo>
                      <a:cubicBezTo>
                        <a:pt x="259745" y="1577521"/>
                        <a:pt x="410633" y="524329"/>
                        <a:pt x="711200" y="0"/>
                      </a:cubicBezTo>
                      <a:cubicBezTo>
                        <a:pt x="640677" y="951593"/>
                        <a:pt x="661415" y="2389414"/>
                        <a:pt x="839308" y="3104243"/>
                      </a:cubicBezTo>
                    </a:path>
                  </a:pathLst>
                </a:custGeom>
                <a:noFill/>
                <a:ln w="19050" cap="rnd">
                  <a:solidFill>
                    <a:schemeClr val="bg1">
                      <a:alpha val="3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grpSp>
      </p:grpSp>
      <p:grpSp>
        <p:nvGrpSpPr>
          <p:cNvPr id="106" name="Group 105"/>
          <p:cNvGrpSpPr/>
          <p:nvPr userDrawn="1"/>
        </p:nvGrpSpPr>
        <p:grpSpPr>
          <a:xfrm>
            <a:off x="1506307" y="1547366"/>
            <a:ext cx="3671193" cy="1121978"/>
            <a:chOff x="5756093" y="2301512"/>
            <a:chExt cx="3899073" cy="1191791"/>
          </a:xfrm>
          <a:solidFill>
            <a:schemeClr val="bg1">
              <a:alpha val="30000"/>
            </a:schemeClr>
          </a:solidFill>
        </p:grpSpPr>
        <p:sp>
          <p:nvSpPr>
            <p:cNvPr id="107" name="Oval 106"/>
            <p:cNvSpPr/>
            <p:nvPr/>
          </p:nvSpPr>
          <p:spPr>
            <a:xfrm>
              <a:off x="8266386" y="2347545"/>
              <a:ext cx="254716" cy="254716"/>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08" name="Oval 107"/>
            <p:cNvSpPr/>
            <p:nvPr/>
          </p:nvSpPr>
          <p:spPr>
            <a:xfrm>
              <a:off x="6326273" y="2776652"/>
              <a:ext cx="79452" cy="79452"/>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09" name="Oval 108"/>
            <p:cNvSpPr/>
            <p:nvPr/>
          </p:nvSpPr>
          <p:spPr>
            <a:xfrm>
              <a:off x="7275317" y="2569605"/>
              <a:ext cx="128791" cy="128791"/>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10" name="Oval 109"/>
            <p:cNvSpPr/>
            <p:nvPr/>
          </p:nvSpPr>
          <p:spPr>
            <a:xfrm>
              <a:off x="6676654" y="2855918"/>
              <a:ext cx="79452" cy="79452"/>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11" name="Oval 110"/>
            <p:cNvSpPr/>
            <p:nvPr/>
          </p:nvSpPr>
          <p:spPr>
            <a:xfrm>
              <a:off x="7021860" y="2762326"/>
              <a:ext cx="79452" cy="79452"/>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12" name="Oval 111"/>
            <p:cNvSpPr/>
            <p:nvPr/>
          </p:nvSpPr>
          <p:spPr>
            <a:xfrm>
              <a:off x="9150042" y="3113746"/>
              <a:ext cx="79452" cy="79452"/>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13" name="Oval 112"/>
            <p:cNvSpPr/>
            <p:nvPr/>
          </p:nvSpPr>
          <p:spPr>
            <a:xfrm>
              <a:off x="7521113" y="2409075"/>
              <a:ext cx="128791" cy="128791"/>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14" name="Oval 113"/>
            <p:cNvSpPr/>
            <p:nvPr/>
          </p:nvSpPr>
          <p:spPr>
            <a:xfrm>
              <a:off x="8821654" y="2895644"/>
              <a:ext cx="128791" cy="128791"/>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15" name="Oval 114"/>
            <p:cNvSpPr/>
            <p:nvPr/>
          </p:nvSpPr>
          <p:spPr>
            <a:xfrm>
              <a:off x="7911267" y="2301512"/>
              <a:ext cx="156013" cy="156013"/>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16" name="Oval 115"/>
            <p:cNvSpPr/>
            <p:nvPr/>
          </p:nvSpPr>
          <p:spPr>
            <a:xfrm>
              <a:off x="8622432" y="2646039"/>
              <a:ext cx="156013" cy="156013"/>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17" name="Oval 116"/>
            <p:cNvSpPr/>
            <p:nvPr/>
          </p:nvSpPr>
          <p:spPr>
            <a:xfrm>
              <a:off x="6046050" y="2698396"/>
              <a:ext cx="45719" cy="45719"/>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18" name="Oval 117"/>
            <p:cNvSpPr/>
            <p:nvPr/>
          </p:nvSpPr>
          <p:spPr>
            <a:xfrm>
              <a:off x="5756093" y="2768856"/>
              <a:ext cx="45719" cy="45719"/>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19" name="Oval 118"/>
            <p:cNvSpPr/>
            <p:nvPr/>
          </p:nvSpPr>
          <p:spPr>
            <a:xfrm>
              <a:off x="9364414" y="3258175"/>
              <a:ext cx="45719" cy="45719"/>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20" name="Oval 119"/>
            <p:cNvSpPr/>
            <p:nvPr/>
          </p:nvSpPr>
          <p:spPr>
            <a:xfrm>
              <a:off x="9609447" y="3447584"/>
              <a:ext cx="45719" cy="45719"/>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grpSp>
        <p:nvGrpSpPr>
          <p:cNvPr id="121" name="Group 120"/>
          <p:cNvGrpSpPr/>
          <p:nvPr userDrawn="1"/>
        </p:nvGrpSpPr>
        <p:grpSpPr>
          <a:xfrm rot="4480905">
            <a:off x="-196861" y="3545147"/>
            <a:ext cx="3506270" cy="4853866"/>
            <a:chOff x="9385524" y="2790411"/>
            <a:chExt cx="3437832" cy="4758449"/>
          </a:xfrm>
        </p:grpSpPr>
        <p:sp>
          <p:nvSpPr>
            <p:cNvPr id="122" name="Freeform: Shape 121"/>
            <p:cNvSpPr/>
            <p:nvPr/>
          </p:nvSpPr>
          <p:spPr>
            <a:xfrm rot="1859816">
              <a:off x="9385524" y="2790411"/>
              <a:ext cx="2012192" cy="3930693"/>
            </a:xfrm>
            <a:custGeom>
              <a:avLst/>
              <a:gdLst>
                <a:gd name="connsiteX0" fmla="*/ 1226774 w 1394417"/>
                <a:gd name="connsiteY0" fmla="*/ 0 h 3497943"/>
                <a:gd name="connsiteX1" fmla="*/ 660717 w 1394417"/>
                <a:gd name="connsiteY1" fmla="*/ 254000 h 3497943"/>
                <a:gd name="connsiteX2" fmla="*/ 1299345 w 1394417"/>
                <a:gd name="connsiteY2" fmla="*/ 635000 h 3497943"/>
                <a:gd name="connsiteX3" fmla="*/ 317 w 1394417"/>
                <a:gd name="connsiteY3" fmla="*/ 1157514 h 3497943"/>
                <a:gd name="connsiteX4" fmla="*/ 1168717 w 1394417"/>
                <a:gd name="connsiteY4" fmla="*/ 2028371 h 3497943"/>
                <a:gd name="connsiteX5" fmla="*/ 504688 w 1394417"/>
                <a:gd name="connsiteY5" fmla="*/ 2630714 h 3497943"/>
                <a:gd name="connsiteX6" fmla="*/ 1379174 w 1394417"/>
                <a:gd name="connsiteY6" fmla="*/ 3066143 h 3497943"/>
                <a:gd name="connsiteX7" fmla="*/ 1081631 w 1394417"/>
                <a:gd name="connsiteY7" fmla="*/ 3334657 h 3497943"/>
                <a:gd name="connsiteX8" fmla="*/ 1357402 w 1394417"/>
                <a:gd name="connsiteY8" fmla="*/ 3497943 h 3497943"/>
                <a:gd name="connsiteX0" fmla="*/ 1406051 w 1406051"/>
                <a:gd name="connsiteY0" fmla="*/ 0 h 3542949"/>
                <a:gd name="connsiteX1" fmla="*/ 660717 w 1406051"/>
                <a:gd name="connsiteY1" fmla="*/ 299006 h 3542949"/>
                <a:gd name="connsiteX2" fmla="*/ 1299345 w 1406051"/>
                <a:gd name="connsiteY2" fmla="*/ 680006 h 3542949"/>
                <a:gd name="connsiteX3" fmla="*/ 317 w 1406051"/>
                <a:gd name="connsiteY3" fmla="*/ 1202520 h 3542949"/>
                <a:gd name="connsiteX4" fmla="*/ 1168717 w 1406051"/>
                <a:gd name="connsiteY4" fmla="*/ 2073377 h 3542949"/>
                <a:gd name="connsiteX5" fmla="*/ 504688 w 1406051"/>
                <a:gd name="connsiteY5" fmla="*/ 2675720 h 3542949"/>
                <a:gd name="connsiteX6" fmla="*/ 1379174 w 1406051"/>
                <a:gd name="connsiteY6" fmla="*/ 3111149 h 3542949"/>
                <a:gd name="connsiteX7" fmla="*/ 1081631 w 1406051"/>
                <a:gd name="connsiteY7" fmla="*/ 3379663 h 3542949"/>
                <a:gd name="connsiteX8" fmla="*/ 1357402 w 1406051"/>
                <a:gd name="connsiteY8" fmla="*/ 3542949 h 3542949"/>
                <a:gd name="connsiteX0" fmla="*/ 1406051 w 1442185"/>
                <a:gd name="connsiteY0" fmla="*/ 0 h 3633781"/>
                <a:gd name="connsiteX1" fmla="*/ 660717 w 1442185"/>
                <a:gd name="connsiteY1" fmla="*/ 299006 h 3633781"/>
                <a:gd name="connsiteX2" fmla="*/ 1299345 w 1442185"/>
                <a:gd name="connsiteY2" fmla="*/ 680006 h 3633781"/>
                <a:gd name="connsiteX3" fmla="*/ 317 w 1442185"/>
                <a:gd name="connsiteY3" fmla="*/ 1202520 h 3633781"/>
                <a:gd name="connsiteX4" fmla="*/ 1168717 w 1442185"/>
                <a:gd name="connsiteY4" fmla="*/ 2073377 h 3633781"/>
                <a:gd name="connsiteX5" fmla="*/ 504688 w 1442185"/>
                <a:gd name="connsiteY5" fmla="*/ 2675720 h 3633781"/>
                <a:gd name="connsiteX6" fmla="*/ 1379174 w 1442185"/>
                <a:gd name="connsiteY6" fmla="*/ 3111149 h 3633781"/>
                <a:gd name="connsiteX7" fmla="*/ 1081631 w 1442185"/>
                <a:gd name="connsiteY7" fmla="*/ 3379663 h 3633781"/>
                <a:gd name="connsiteX8" fmla="*/ 1442185 w 1442185"/>
                <a:gd name="connsiteY8" fmla="*/ 3633781 h 3633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42185" h="3633781">
                  <a:moveTo>
                    <a:pt x="1406051" y="0"/>
                  </a:moveTo>
                  <a:cubicBezTo>
                    <a:pt x="1116975" y="74083"/>
                    <a:pt x="678501" y="185672"/>
                    <a:pt x="660717" y="299006"/>
                  </a:cubicBezTo>
                  <a:cubicBezTo>
                    <a:pt x="642933" y="412340"/>
                    <a:pt x="1409412" y="529420"/>
                    <a:pt x="1299345" y="680006"/>
                  </a:cubicBezTo>
                  <a:cubicBezTo>
                    <a:pt x="1189278" y="830592"/>
                    <a:pt x="22088" y="970292"/>
                    <a:pt x="317" y="1202520"/>
                  </a:cubicBezTo>
                  <a:cubicBezTo>
                    <a:pt x="-21454" y="1434748"/>
                    <a:pt x="1084655" y="1827844"/>
                    <a:pt x="1168717" y="2073377"/>
                  </a:cubicBezTo>
                  <a:cubicBezTo>
                    <a:pt x="1252779" y="2318910"/>
                    <a:pt x="469612" y="2502758"/>
                    <a:pt x="504688" y="2675720"/>
                  </a:cubicBezTo>
                  <a:cubicBezTo>
                    <a:pt x="539764" y="2848682"/>
                    <a:pt x="1283017" y="2993825"/>
                    <a:pt x="1379174" y="3111149"/>
                  </a:cubicBezTo>
                  <a:cubicBezTo>
                    <a:pt x="1475331" y="3228473"/>
                    <a:pt x="1071129" y="3292558"/>
                    <a:pt x="1081631" y="3379663"/>
                  </a:cubicBezTo>
                  <a:cubicBezTo>
                    <a:pt x="1092133" y="3466768"/>
                    <a:pt x="1302485" y="3588121"/>
                    <a:pt x="1442185" y="3633781"/>
                  </a:cubicBezTo>
                </a:path>
              </a:pathLst>
            </a:custGeom>
            <a:noFill/>
            <a:ln>
              <a:solidFill>
                <a:schemeClr val="bg1">
                  <a:alpha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nvGrpSpPr>
            <p:cNvPr id="123" name="Group 122"/>
            <p:cNvGrpSpPr/>
            <p:nvPr/>
          </p:nvGrpSpPr>
          <p:grpSpPr>
            <a:xfrm>
              <a:off x="9659552" y="2944459"/>
              <a:ext cx="3163804" cy="4604401"/>
              <a:chOff x="9659552" y="2944459"/>
              <a:chExt cx="3163804" cy="4604401"/>
            </a:xfrm>
          </p:grpSpPr>
          <p:sp>
            <p:nvSpPr>
              <p:cNvPr id="124" name="Oval 123"/>
              <p:cNvSpPr/>
              <p:nvPr/>
            </p:nvSpPr>
            <p:spPr>
              <a:xfrm>
                <a:off x="10823866" y="3987711"/>
                <a:ext cx="79452" cy="79452"/>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nvGrpSpPr>
              <p:cNvPr id="125" name="Group 124"/>
              <p:cNvGrpSpPr/>
              <p:nvPr/>
            </p:nvGrpSpPr>
            <p:grpSpPr>
              <a:xfrm>
                <a:off x="10171356" y="3779500"/>
                <a:ext cx="468086" cy="468086"/>
                <a:chOff x="3766458" y="4912364"/>
                <a:chExt cx="468086" cy="468086"/>
              </a:xfrm>
            </p:grpSpPr>
            <p:sp>
              <p:nvSpPr>
                <p:cNvPr id="149" name="Oval 148"/>
                <p:cNvSpPr/>
                <p:nvPr/>
              </p:nvSpPr>
              <p:spPr>
                <a:xfrm>
                  <a:off x="3766458" y="4912364"/>
                  <a:ext cx="468086" cy="468086"/>
                </a:xfrm>
                <a:prstGeom prst="ellipse">
                  <a:avLst/>
                </a:prstGeom>
                <a:noFill/>
                <a:ln w="28575">
                  <a:solidFill>
                    <a:schemeClr val="bg1">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50" name="Oval 149"/>
                <p:cNvSpPr/>
                <p:nvPr/>
              </p:nvSpPr>
              <p:spPr>
                <a:xfrm>
                  <a:off x="3860079" y="5005985"/>
                  <a:ext cx="280844" cy="280844"/>
                </a:xfrm>
                <a:prstGeom prst="ellipse">
                  <a:avLst/>
                </a:prstGeom>
                <a:noFill/>
                <a:ln w="28575">
                  <a:solidFill>
                    <a:schemeClr val="bg1">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51" name="Oval 150"/>
                <p:cNvSpPr/>
                <p:nvPr/>
              </p:nvSpPr>
              <p:spPr>
                <a:xfrm>
                  <a:off x="3959681" y="5105587"/>
                  <a:ext cx="81640" cy="81640"/>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sp>
            <p:nvSpPr>
              <p:cNvPr id="126" name="Oval 125"/>
              <p:cNvSpPr/>
              <p:nvPr/>
            </p:nvSpPr>
            <p:spPr>
              <a:xfrm>
                <a:off x="11273865" y="4127326"/>
                <a:ext cx="79452" cy="79452"/>
              </a:xfrm>
              <a:prstGeom prst="ellipse">
                <a:avLst/>
              </a:prstGeom>
              <a:solidFill>
                <a:schemeClr val="bg1">
                  <a:alpha val="6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27" name="Oval 126"/>
              <p:cNvSpPr/>
              <p:nvPr/>
            </p:nvSpPr>
            <p:spPr>
              <a:xfrm>
                <a:off x="10545821" y="4457906"/>
                <a:ext cx="79452" cy="79452"/>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28" name="Oval 127"/>
              <p:cNvSpPr/>
              <p:nvPr/>
            </p:nvSpPr>
            <p:spPr>
              <a:xfrm>
                <a:off x="10739111" y="4778511"/>
                <a:ext cx="79452" cy="79452"/>
              </a:xfrm>
              <a:prstGeom prst="ellipse">
                <a:avLst/>
              </a:prstGeom>
              <a:solidFill>
                <a:schemeClr val="bg1">
                  <a:alpha val="6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29" name="Oval 128"/>
              <p:cNvSpPr/>
              <p:nvPr/>
            </p:nvSpPr>
            <p:spPr>
              <a:xfrm>
                <a:off x="10936920" y="5102324"/>
                <a:ext cx="45719" cy="45719"/>
              </a:xfrm>
              <a:prstGeom prst="ellipse">
                <a:avLst/>
              </a:prstGeom>
              <a:solidFill>
                <a:schemeClr val="bg1">
                  <a:alpha val="4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30" name="Oval 129"/>
              <p:cNvSpPr/>
              <p:nvPr/>
            </p:nvSpPr>
            <p:spPr>
              <a:xfrm>
                <a:off x="11707992" y="4265279"/>
                <a:ext cx="45719" cy="45719"/>
              </a:xfrm>
              <a:prstGeom prst="ellipse">
                <a:avLst/>
              </a:prstGeom>
              <a:solidFill>
                <a:schemeClr val="bg1">
                  <a:alpha val="4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31" name="Oval 130"/>
              <p:cNvSpPr/>
              <p:nvPr/>
            </p:nvSpPr>
            <p:spPr>
              <a:xfrm>
                <a:off x="11957613" y="4161059"/>
                <a:ext cx="45719" cy="45719"/>
              </a:xfrm>
              <a:prstGeom prst="ellipse">
                <a:avLst/>
              </a:prstGeom>
              <a:solidFill>
                <a:schemeClr val="bg1">
                  <a:alpha val="4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32" name="Oval 131"/>
              <p:cNvSpPr/>
              <p:nvPr/>
            </p:nvSpPr>
            <p:spPr>
              <a:xfrm>
                <a:off x="11057753" y="5351715"/>
                <a:ext cx="45719" cy="45719"/>
              </a:xfrm>
              <a:prstGeom prst="ellipse">
                <a:avLst/>
              </a:prstGeom>
              <a:solidFill>
                <a:schemeClr val="bg1">
                  <a:alpha val="4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33" name="Freeform: Shape 132"/>
              <p:cNvSpPr/>
              <p:nvPr/>
            </p:nvSpPr>
            <p:spPr>
              <a:xfrm rot="1859816">
                <a:off x="9986645" y="3126797"/>
                <a:ext cx="1657518" cy="3532144"/>
              </a:xfrm>
              <a:custGeom>
                <a:avLst/>
                <a:gdLst>
                  <a:gd name="connsiteX0" fmla="*/ 1226774 w 1394417"/>
                  <a:gd name="connsiteY0" fmla="*/ 0 h 3497943"/>
                  <a:gd name="connsiteX1" fmla="*/ 660717 w 1394417"/>
                  <a:gd name="connsiteY1" fmla="*/ 254000 h 3497943"/>
                  <a:gd name="connsiteX2" fmla="*/ 1299345 w 1394417"/>
                  <a:gd name="connsiteY2" fmla="*/ 635000 h 3497943"/>
                  <a:gd name="connsiteX3" fmla="*/ 317 w 1394417"/>
                  <a:gd name="connsiteY3" fmla="*/ 1157514 h 3497943"/>
                  <a:gd name="connsiteX4" fmla="*/ 1168717 w 1394417"/>
                  <a:gd name="connsiteY4" fmla="*/ 2028371 h 3497943"/>
                  <a:gd name="connsiteX5" fmla="*/ 504688 w 1394417"/>
                  <a:gd name="connsiteY5" fmla="*/ 2630714 h 3497943"/>
                  <a:gd name="connsiteX6" fmla="*/ 1379174 w 1394417"/>
                  <a:gd name="connsiteY6" fmla="*/ 3066143 h 3497943"/>
                  <a:gd name="connsiteX7" fmla="*/ 1081631 w 1394417"/>
                  <a:gd name="connsiteY7" fmla="*/ 3334657 h 3497943"/>
                  <a:gd name="connsiteX8" fmla="*/ 1357402 w 1394417"/>
                  <a:gd name="connsiteY8" fmla="*/ 3497943 h 3497943"/>
                  <a:gd name="connsiteX0" fmla="*/ 1226774 w 1394417"/>
                  <a:gd name="connsiteY0" fmla="*/ 0 h 3334657"/>
                  <a:gd name="connsiteX1" fmla="*/ 660717 w 1394417"/>
                  <a:gd name="connsiteY1" fmla="*/ 254000 h 3334657"/>
                  <a:gd name="connsiteX2" fmla="*/ 1299345 w 1394417"/>
                  <a:gd name="connsiteY2" fmla="*/ 635000 h 3334657"/>
                  <a:gd name="connsiteX3" fmla="*/ 317 w 1394417"/>
                  <a:gd name="connsiteY3" fmla="*/ 1157514 h 3334657"/>
                  <a:gd name="connsiteX4" fmla="*/ 1168717 w 1394417"/>
                  <a:gd name="connsiteY4" fmla="*/ 2028371 h 3334657"/>
                  <a:gd name="connsiteX5" fmla="*/ 504688 w 1394417"/>
                  <a:gd name="connsiteY5" fmla="*/ 2630714 h 3334657"/>
                  <a:gd name="connsiteX6" fmla="*/ 1379174 w 1394417"/>
                  <a:gd name="connsiteY6" fmla="*/ 3066143 h 3334657"/>
                  <a:gd name="connsiteX7" fmla="*/ 1081631 w 1394417"/>
                  <a:gd name="connsiteY7" fmla="*/ 3334657 h 3334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4417" h="3334657">
                    <a:moveTo>
                      <a:pt x="1226774" y="0"/>
                    </a:moveTo>
                    <a:cubicBezTo>
                      <a:pt x="937698" y="74083"/>
                      <a:pt x="648622" y="148167"/>
                      <a:pt x="660717" y="254000"/>
                    </a:cubicBezTo>
                    <a:cubicBezTo>
                      <a:pt x="672812" y="359833"/>
                      <a:pt x="1409412" y="484414"/>
                      <a:pt x="1299345" y="635000"/>
                    </a:cubicBezTo>
                    <a:cubicBezTo>
                      <a:pt x="1189278" y="785586"/>
                      <a:pt x="22088" y="925286"/>
                      <a:pt x="317" y="1157514"/>
                    </a:cubicBezTo>
                    <a:cubicBezTo>
                      <a:pt x="-21454" y="1389742"/>
                      <a:pt x="1084655" y="1782838"/>
                      <a:pt x="1168717" y="2028371"/>
                    </a:cubicBezTo>
                    <a:cubicBezTo>
                      <a:pt x="1252779" y="2273904"/>
                      <a:pt x="469612" y="2457752"/>
                      <a:pt x="504688" y="2630714"/>
                    </a:cubicBezTo>
                    <a:cubicBezTo>
                      <a:pt x="539764" y="2803676"/>
                      <a:pt x="1283017" y="2948819"/>
                      <a:pt x="1379174" y="3066143"/>
                    </a:cubicBezTo>
                    <a:cubicBezTo>
                      <a:pt x="1475331" y="3183467"/>
                      <a:pt x="1085260" y="3262690"/>
                      <a:pt x="1081631" y="3334657"/>
                    </a:cubicBezTo>
                  </a:path>
                </a:pathLst>
              </a:custGeom>
              <a:noFill/>
              <a:ln>
                <a:solidFill>
                  <a:schemeClr val="bg1">
                    <a:alpha val="5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nvGrpSpPr>
              <p:cNvPr id="134" name="Group 133"/>
              <p:cNvGrpSpPr/>
              <p:nvPr/>
            </p:nvGrpSpPr>
            <p:grpSpPr>
              <a:xfrm>
                <a:off x="9659552" y="6255370"/>
                <a:ext cx="511804" cy="511804"/>
                <a:chOff x="3766458" y="4912364"/>
                <a:chExt cx="468086" cy="468086"/>
              </a:xfrm>
            </p:grpSpPr>
            <p:sp>
              <p:nvSpPr>
                <p:cNvPr id="146" name="Oval 145"/>
                <p:cNvSpPr/>
                <p:nvPr/>
              </p:nvSpPr>
              <p:spPr>
                <a:xfrm>
                  <a:off x="3766458" y="4912364"/>
                  <a:ext cx="468086" cy="468086"/>
                </a:xfrm>
                <a:prstGeom prst="ellipse">
                  <a:avLst/>
                </a:prstGeom>
                <a:noFill/>
                <a:ln w="28575">
                  <a:solidFill>
                    <a:schemeClr val="bg1">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47" name="Oval 146"/>
                <p:cNvSpPr/>
                <p:nvPr/>
              </p:nvSpPr>
              <p:spPr>
                <a:xfrm>
                  <a:off x="3860079" y="5005985"/>
                  <a:ext cx="280844" cy="280844"/>
                </a:xfrm>
                <a:prstGeom prst="ellipse">
                  <a:avLst/>
                </a:prstGeom>
                <a:noFill/>
                <a:ln w="28575">
                  <a:solidFill>
                    <a:schemeClr val="bg1">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48" name="Oval 147"/>
                <p:cNvSpPr/>
                <p:nvPr/>
              </p:nvSpPr>
              <p:spPr>
                <a:xfrm>
                  <a:off x="3959681" y="5105587"/>
                  <a:ext cx="81640" cy="81640"/>
                </a:xfrm>
                <a:prstGeom prst="ellipse">
                  <a:avLst/>
                </a:prstGeom>
                <a:solidFill>
                  <a:schemeClr val="bg1">
                    <a:alpha val="6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sp>
            <p:nvSpPr>
              <p:cNvPr id="135" name="Oval 134"/>
              <p:cNvSpPr/>
              <p:nvPr/>
            </p:nvSpPr>
            <p:spPr>
              <a:xfrm>
                <a:off x="10019476" y="3733781"/>
                <a:ext cx="45719" cy="45719"/>
              </a:xfrm>
              <a:prstGeom prst="ellipse">
                <a:avLst/>
              </a:prstGeom>
              <a:solidFill>
                <a:schemeClr val="bg1">
                  <a:alpha val="7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nvGrpSpPr>
              <p:cNvPr id="136" name="Group 135"/>
              <p:cNvGrpSpPr/>
              <p:nvPr/>
            </p:nvGrpSpPr>
            <p:grpSpPr>
              <a:xfrm rot="18900000" flipH="1">
                <a:off x="9997674" y="4364464"/>
                <a:ext cx="1590444" cy="3184396"/>
                <a:chOff x="1113971" y="3497757"/>
                <a:chExt cx="1150258" cy="3142530"/>
              </a:xfrm>
            </p:grpSpPr>
            <p:sp>
              <p:nvSpPr>
                <p:cNvPr id="142" name="Freeform: Shape 141"/>
                <p:cNvSpPr/>
                <p:nvPr/>
              </p:nvSpPr>
              <p:spPr>
                <a:xfrm>
                  <a:off x="1113971" y="3497944"/>
                  <a:ext cx="1150258"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Lst>
                  <a:ahLst/>
                  <a:cxnLst>
                    <a:cxn ang="0">
                      <a:pos x="connsiteX0" y="connsiteY0"/>
                    </a:cxn>
                    <a:cxn ang="0">
                      <a:pos x="connsiteX1" y="connsiteY1"/>
                    </a:cxn>
                    <a:cxn ang="0">
                      <a:pos x="connsiteX2" y="connsiteY2"/>
                    </a:cxn>
                  </a:cxnLst>
                  <a:rect l="l" t="t" r="r" b="b"/>
                  <a:pathLst>
                    <a:path w="1150258" h="3142343">
                      <a:moveTo>
                        <a:pt x="0" y="3142343"/>
                      </a:moveTo>
                      <a:cubicBezTo>
                        <a:pt x="259745" y="1577521"/>
                        <a:pt x="410633" y="524329"/>
                        <a:pt x="711200" y="0"/>
                      </a:cubicBezTo>
                      <a:cubicBezTo>
                        <a:pt x="732367" y="948871"/>
                        <a:pt x="848784" y="2375807"/>
                        <a:pt x="1150258" y="3066143"/>
                      </a:cubicBezTo>
                    </a:path>
                  </a:pathLst>
                </a:custGeom>
                <a:noFill/>
                <a:ln w="19050" cap="rnd">
                  <a:solidFill>
                    <a:schemeClr val="bg1">
                      <a:alpha val="3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43" name="Freeform: Shape 142"/>
                <p:cNvSpPr/>
                <p:nvPr/>
              </p:nvSpPr>
              <p:spPr>
                <a:xfrm>
                  <a:off x="1201058" y="3497943"/>
                  <a:ext cx="885371"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1013223"/>
                    <a:gd name="connsiteY0" fmla="*/ 3142343 h 3142343"/>
                    <a:gd name="connsiteX1" fmla="*/ 711200 w 1013223"/>
                    <a:gd name="connsiteY1" fmla="*/ 0 h 3142343"/>
                    <a:gd name="connsiteX2" fmla="*/ 1013223 w 1013223"/>
                    <a:gd name="connsiteY2" fmla="*/ 3077029 h 3142343"/>
                    <a:gd name="connsiteX0" fmla="*/ 0 w 1013223"/>
                    <a:gd name="connsiteY0" fmla="*/ 3142343 h 3142343"/>
                    <a:gd name="connsiteX1" fmla="*/ 711200 w 1013223"/>
                    <a:gd name="connsiteY1" fmla="*/ 0 h 3142343"/>
                    <a:gd name="connsiteX2" fmla="*/ 1013223 w 1013223"/>
                    <a:gd name="connsiteY2" fmla="*/ 3077029 h 3142343"/>
                    <a:gd name="connsiteX0" fmla="*/ 0 w 1013223"/>
                    <a:gd name="connsiteY0" fmla="*/ 3142343 h 3142343"/>
                    <a:gd name="connsiteX1" fmla="*/ 711200 w 1013223"/>
                    <a:gd name="connsiteY1" fmla="*/ 0 h 3142343"/>
                    <a:gd name="connsiteX2" fmla="*/ 1013223 w 1013223"/>
                    <a:gd name="connsiteY2" fmla="*/ 3077029 h 3142343"/>
                  </a:gdLst>
                  <a:ahLst/>
                  <a:cxnLst>
                    <a:cxn ang="0">
                      <a:pos x="connsiteX0" y="connsiteY0"/>
                    </a:cxn>
                    <a:cxn ang="0">
                      <a:pos x="connsiteX1" y="connsiteY1"/>
                    </a:cxn>
                    <a:cxn ang="0">
                      <a:pos x="connsiteX2" y="connsiteY2"/>
                    </a:cxn>
                  </a:cxnLst>
                  <a:rect l="l" t="t" r="r" b="b"/>
                  <a:pathLst>
                    <a:path w="1013223" h="3142343">
                      <a:moveTo>
                        <a:pt x="0" y="3142343"/>
                      </a:moveTo>
                      <a:cubicBezTo>
                        <a:pt x="259745" y="1577521"/>
                        <a:pt x="410633" y="524329"/>
                        <a:pt x="711200" y="0"/>
                      </a:cubicBezTo>
                      <a:cubicBezTo>
                        <a:pt x="691880" y="954314"/>
                        <a:pt x="820754" y="2288721"/>
                        <a:pt x="1013223" y="3077029"/>
                      </a:cubicBezTo>
                    </a:path>
                  </a:pathLst>
                </a:custGeom>
                <a:noFill/>
                <a:ln w="19050" cap="rnd">
                  <a:solidFill>
                    <a:schemeClr val="bg1">
                      <a:alpha val="3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44" name="Freeform: Shape 143"/>
                <p:cNvSpPr/>
                <p:nvPr/>
              </p:nvSpPr>
              <p:spPr>
                <a:xfrm>
                  <a:off x="1527273" y="3498130"/>
                  <a:ext cx="296864" cy="3128736"/>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711911"/>
                    <a:gd name="connsiteY0" fmla="*/ 3142343 h 3142343"/>
                    <a:gd name="connsiteX1" fmla="*/ 711200 w 711911"/>
                    <a:gd name="connsiteY1" fmla="*/ 0 h 3142343"/>
                    <a:gd name="connsiteX2" fmla="*/ 573840 w 711911"/>
                    <a:gd name="connsiteY2" fmla="*/ 3115128 h 3142343"/>
                    <a:gd name="connsiteX0" fmla="*/ 0 w 711199"/>
                    <a:gd name="connsiteY0" fmla="*/ 3142343 h 3142343"/>
                    <a:gd name="connsiteX1" fmla="*/ 711200 w 711199"/>
                    <a:gd name="connsiteY1" fmla="*/ 0 h 3142343"/>
                    <a:gd name="connsiteX2" fmla="*/ 573840 w 711199"/>
                    <a:gd name="connsiteY2" fmla="*/ 3115128 h 3142343"/>
                    <a:gd name="connsiteX0" fmla="*/ 0 w 610465"/>
                    <a:gd name="connsiteY0" fmla="*/ 3128736 h 3128736"/>
                    <a:gd name="connsiteX1" fmla="*/ 610466 w 610465"/>
                    <a:gd name="connsiteY1" fmla="*/ 0 h 3128736"/>
                    <a:gd name="connsiteX2" fmla="*/ 473106 w 610465"/>
                    <a:gd name="connsiteY2" fmla="*/ 3115128 h 3128736"/>
                    <a:gd name="connsiteX0" fmla="*/ 0 w 610465"/>
                    <a:gd name="connsiteY0" fmla="*/ 3128736 h 3128736"/>
                    <a:gd name="connsiteX1" fmla="*/ 610466 w 610465"/>
                    <a:gd name="connsiteY1" fmla="*/ 0 h 3128736"/>
                    <a:gd name="connsiteX2" fmla="*/ 473106 w 610465"/>
                    <a:gd name="connsiteY2" fmla="*/ 3115128 h 3128736"/>
                  </a:gdLst>
                  <a:ahLst/>
                  <a:cxnLst>
                    <a:cxn ang="0">
                      <a:pos x="connsiteX0" y="connsiteY0"/>
                    </a:cxn>
                    <a:cxn ang="0">
                      <a:pos x="connsiteX1" y="connsiteY1"/>
                    </a:cxn>
                    <a:cxn ang="0">
                      <a:pos x="connsiteX2" y="connsiteY2"/>
                    </a:cxn>
                  </a:cxnLst>
                  <a:rect l="l" t="t" r="r" b="b"/>
                  <a:pathLst>
                    <a:path w="610465" h="3128736">
                      <a:moveTo>
                        <a:pt x="0" y="3128736"/>
                      </a:moveTo>
                      <a:cubicBezTo>
                        <a:pt x="58280" y="1629229"/>
                        <a:pt x="309899" y="524329"/>
                        <a:pt x="610466" y="0"/>
                      </a:cubicBezTo>
                      <a:cubicBezTo>
                        <a:pt x="402185" y="888999"/>
                        <a:pt x="171632" y="2424792"/>
                        <a:pt x="473106" y="3115128"/>
                      </a:cubicBezTo>
                    </a:path>
                  </a:pathLst>
                </a:custGeom>
                <a:noFill/>
                <a:ln w="19050" cap="rnd">
                  <a:solidFill>
                    <a:schemeClr val="bg1">
                      <a:alpha val="3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45" name="Freeform: Shape 144"/>
                <p:cNvSpPr/>
                <p:nvPr/>
              </p:nvSpPr>
              <p:spPr>
                <a:xfrm>
                  <a:off x="1340028" y="3497757"/>
                  <a:ext cx="572960"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839308"/>
                    <a:gd name="connsiteY0" fmla="*/ 3142343 h 3142343"/>
                    <a:gd name="connsiteX1" fmla="*/ 711200 w 839308"/>
                    <a:gd name="connsiteY1" fmla="*/ 0 h 3142343"/>
                    <a:gd name="connsiteX2" fmla="*/ 839308 w 839308"/>
                    <a:gd name="connsiteY2" fmla="*/ 3104243 h 3142343"/>
                    <a:gd name="connsiteX0" fmla="*/ 0 w 839308"/>
                    <a:gd name="connsiteY0" fmla="*/ 3142343 h 3142343"/>
                    <a:gd name="connsiteX1" fmla="*/ 711200 w 839308"/>
                    <a:gd name="connsiteY1" fmla="*/ 0 h 3142343"/>
                    <a:gd name="connsiteX2" fmla="*/ 839308 w 839308"/>
                    <a:gd name="connsiteY2" fmla="*/ 3104243 h 3142343"/>
                    <a:gd name="connsiteX0" fmla="*/ 0 w 839308"/>
                    <a:gd name="connsiteY0" fmla="*/ 3142343 h 3142343"/>
                    <a:gd name="connsiteX1" fmla="*/ 711200 w 839308"/>
                    <a:gd name="connsiteY1" fmla="*/ 0 h 3142343"/>
                    <a:gd name="connsiteX2" fmla="*/ 839308 w 839308"/>
                    <a:gd name="connsiteY2" fmla="*/ 3104243 h 3142343"/>
                  </a:gdLst>
                  <a:ahLst/>
                  <a:cxnLst>
                    <a:cxn ang="0">
                      <a:pos x="connsiteX0" y="connsiteY0"/>
                    </a:cxn>
                    <a:cxn ang="0">
                      <a:pos x="connsiteX1" y="connsiteY1"/>
                    </a:cxn>
                    <a:cxn ang="0">
                      <a:pos x="connsiteX2" y="connsiteY2"/>
                    </a:cxn>
                  </a:cxnLst>
                  <a:rect l="l" t="t" r="r" b="b"/>
                  <a:pathLst>
                    <a:path w="839308" h="3142343">
                      <a:moveTo>
                        <a:pt x="0" y="3142343"/>
                      </a:moveTo>
                      <a:cubicBezTo>
                        <a:pt x="259745" y="1577521"/>
                        <a:pt x="410633" y="524329"/>
                        <a:pt x="711200" y="0"/>
                      </a:cubicBezTo>
                      <a:cubicBezTo>
                        <a:pt x="640677" y="951593"/>
                        <a:pt x="661415" y="2389414"/>
                        <a:pt x="839308" y="3104243"/>
                      </a:cubicBezTo>
                    </a:path>
                  </a:pathLst>
                </a:custGeom>
                <a:noFill/>
                <a:ln w="19050" cap="rnd">
                  <a:solidFill>
                    <a:schemeClr val="bg1">
                      <a:alpha val="3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grpSp>
            <p:nvGrpSpPr>
              <p:cNvPr id="137" name="Group 136"/>
              <p:cNvGrpSpPr/>
              <p:nvPr/>
            </p:nvGrpSpPr>
            <p:grpSpPr>
              <a:xfrm rot="7200000" flipH="1" flipV="1">
                <a:off x="10907040" y="2618587"/>
                <a:ext cx="1590444" cy="2242188"/>
                <a:chOff x="1113971" y="3497757"/>
                <a:chExt cx="1150258" cy="3142530"/>
              </a:xfrm>
            </p:grpSpPr>
            <p:sp>
              <p:nvSpPr>
                <p:cNvPr id="138" name="Freeform: Shape 137"/>
                <p:cNvSpPr/>
                <p:nvPr/>
              </p:nvSpPr>
              <p:spPr>
                <a:xfrm>
                  <a:off x="1113971" y="3497944"/>
                  <a:ext cx="1150258"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Lst>
                  <a:ahLst/>
                  <a:cxnLst>
                    <a:cxn ang="0">
                      <a:pos x="connsiteX0" y="connsiteY0"/>
                    </a:cxn>
                    <a:cxn ang="0">
                      <a:pos x="connsiteX1" y="connsiteY1"/>
                    </a:cxn>
                    <a:cxn ang="0">
                      <a:pos x="connsiteX2" y="connsiteY2"/>
                    </a:cxn>
                  </a:cxnLst>
                  <a:rect l="l" t="t" r="r" b="b"/>
                  <a:pathLst>
                    <a:path w="1150258" h="3142343">
                      <a:moveTo>
                        <a:pt x="0" y="3142343"/>
                      </a:moveTo>
                      <a:cubicBezTo>
                        <a:pt x="259745" y="1577521"/>
                        <a:pt x="410633" y="524329"/>
                        <a:pt x="711200" y="0"/>
                      </a:cubicBezTo>
                      <a:cubicBezTo>
                        <a:pt x="732367" y="948871"/>
                        <a:pt x="848784" y="2375807"/>
                        <a:pt x="1150258" y="3066143"/>
                      </a:cubicBezTo>
                    </a:path>
                  </a:pathLst>
                </a:custGeom>
                <a:noFill/>
                <a:ln w="19050" cap="rnd">
                  <a:solidFill>
                    <a:schemeClr val="bg1">
                      <a:alpha val="3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39" name="Freeform: Shape 138"/>
                <p:cNvSpPr/>
                <p:nvPr/>
              </p:nvSpPr>
              <p:spPr>
                <a:xfrm>
                  <a:off x="1201058" y="3497943"/>
                  <a:ext cx="885371"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1013223"/>
                    <a:gd name="connsiteY0" fmla="*/ 3142343 h 3142343"/>
                    <a:gd name="connsiteX1" fmla="*/ 711200 w 1013223"/>
                    <a:gd name="connsiteY1" fmla="*/ 0 h 3142343"/>
                    <a:gd name="connsiteX2" fmla="*/ 1013223 w 1013223"/>
                    <a:gd name="connsiteY2" fmla="*/ 3077029 h 3142343"/>
                    <a:gd name="connsiteX0" fmla="*/ 0 w 1013223"/>
                    <a:gd name="connsiteY0" fmla="*/ 3142343 h 3142343"/>
                    <a:gd name="connsiteX1" fmla="*/ 711200 w 1013223"/>
                    <a:gd name="connsiteY1" fmla="*/ 0 h 3142343"/>
                    <a:gd name="connsiteX2" fmla="*/ 1013223 w 1013223"/>
                    <a:gd name="connsiteY2" fmla="*/ 3077029 h 3142343"/>
                    <a:gd name="connsiteX0" fmla="*/ 0 w 1013223"/>
                    <a:gd name="connsiteY0" fmla="*/ 3142343 h 3142343"/>
                    <a:gd name="connsiteX1" fmla="*/ 711200 w 1013223"/>
                    <a:gd name="connsiteY1" fmla="*/ 0 h 3142343"/>
                    <a:gd name="connsiteX2" fmla="*/ 1013223 w 1013223"/>
                    <a:gd name="connsiteY2" fmla="*/ 3077029 h 3142343"/>
                  </a:gdLst>
                  <a:ahLst/>
                  <a:cxnLst>
                    <a:cxn ang="0">
                      <a:pos x="connsiteX0" y="connsiteY0"/>
                    </a:cxn>
                    <a:cxn ang="0">
                      <a:pos x="connsiteX1" y="connsiteY1"/>
                    </a:cxn>
                    <a:cxn ang="0">
                      <a:pos x="connsiteX2" y="connsiteY2"/>
                    </a:cxn>
                  </a:cxnLst>
                  <a:rect l="l" t="t" r="r" b="b"/>
                  <a:pathLst>
                    <a:path w="1013223" h="3142343">
                      <a:moveTo>
                        <a:pt x="0" y="3142343"/>
                      </a:moveTo>
                      <a:cubicBezTo>
                        <a:pt x="259745" y="1577521"/>
                        <a:pt x="410633" y="524329"/>
                        <a:pt x="711200" y="0"/>
                      </a:cubicBezTo>
                      <a:cubicBezTo>
                        <a:pt x="691880" y="954314"/>
                        <a:pt x="820754" y="2288721"/>
                        <a:pt x="1013223" y="3077029"/>
                      </a:cubicBezTo>
                    </a:path>
                  </a:pathLst>
                </a:custGeom>
                <a:noFill/>
                <a:ln w="19050" cap="rnd">
                  <a:solidFill>
                    <a:schemeClr val="bg1">
                      <a:alpha val="3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40" name="Freeform: Shape 139"/>
                <p:cNvSpPr/>
                <p:nvPr/>
              </p:nvSpPr>
              <p:spPr>
                <a:xfrm>
                  <a:off x="1527273" y="3498130"/>
                  <a:ext cx="296864" cy="3128736"/>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711911"/>
                    <a:gd name="connsiteY0" fmla="*/ 3142343 h 3142343"/>
                    <a:gd name="connsiteX1" fmla="*/ 711200 w 711911"/>
                    <a:gd name="connsiteY1" fmla="*/ 0 h 3142343"/>
                    <a:gd name="connsiteX2" fmla="*/ 573840 w 711911"/>
                    <a:gd name="connsiteY2" fmla="*/ 3115128 h 3142343"/>
                    <a:gd name="connsiteX0" fmla="*/ 0 w 711199"/>
                    <a:gd name="connsiteY0" fmla="*/ 3142343 h 3142343"/>
                    <a:gd name="connsiteX1" fmla="*/ 711200 w 711199"/>
                    <a:gd name="connsiteY1" fmla="*/ 0 h 3142343"/>
                    <a:gd name="connsiteX2" fmla="*/ 573840 w 711199"/>
                    <a:gd name="connsiteY2" fmla="*/ 3115128 h 3142343"/>
                    <a:gd name="connsiteX0" fmla="*/ 0 w 610465"/>
                    <a:gd name="connsiteY0" fmla="*/ 3128736 h 3128736"/>
                    <a:gd name="connsiteX1" fmla="*/ 610466 w 610465"/>
                    <a:gd name="connsiteY1" fmla="*/ 0 h 3128736"/>
                    <a:gd name="connsiteX2" fmla="*/ 473106 w 610465"/>
                    <a:gd name="connsiteY2" fmla="*/ 3115128 h 3128736"/>
                    <a:gd name="connsiteX0" fmla="*/ 0 w 610465"/>
                    <a:gd name="connsiteY0" fmla="*/ 3128736 h 3128736"/>
                    <a:gd name="connsiteX1" fmla="*/ 610466 w 610465"/>
                    <a:gd name="connsiteY1" fmla="*/ 0 h 3128736"/>
                    <a:gd name="connsiteX2" fmla="*/ 473106 w 610465"/>
                    <a:gd name="connsiteY2" fmla="*/ 3115128 h 3128736"/>
                  </a:gdLst>
                  <a:ahLst/>
                  <a:cxnLst>
                    <a:cxn ang="0">
                      <a:pos x="connsiteX0" y="connsiteY0"/>
                    </a:cxn>
                    <a:cxn ang="0">
                      <a:pos x="connsiteX1" y="connsiteY1"/>
                    </a:cxn>
                    <a:cxn ang="0">
                      <a:pos x="connsiteX2" y="connsiteY2"/>
                    </a:cxn>
                  </a:cxnLst>
                  <a:rect l="l" t="t" r="r" b="b"/>
                  <a:pathLst>
                    <a:path w="610465" h="3128736">
                      <a:moveTo>
                        <a:pt x="0" y="3128736"/>
                      </a:moveTo>
                      <a:cubicBezTo>
                        <a:pt x="58280" y="1629229"/>
                        <a:pt x="309899" y="524329"/>
                        <a:pt x="610466" y="0"/>
                      </a:cubicBezTo>
                      <a:cubicBezTo>
                        <a:pt x="402185" y="888999"/>
                        <a:pt x="171632" y="2424792"/>
                        <a:pt x="473106" y="3115128"/>
                      </a:cubicBezTo>
                    </a:path>
                  </a:pathLst>
                </a:custGeom>
                <a:noFill/>
                <a:ln w="19050" cap="rnd">
                  <a:solidFill>
                    <a:schemeClr val="bg1">
                      <a:alpha val="3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41" name="Freeform: Shape 140"/>
                <p:cNvSpPr/>
                <p:nvPr/>
              </p:nvSpPr>
              <p:spPr>
                <a:xfrm>
                  <a:off x="1340028" y="3497757"/>
                  <a:ext cx="572960" cy="3142343"/>
                </a:xfrm>
                <a:custGeom>
                  <a:avLst/>
                  <a:gdLst>
                    <a:gd name="connsiteX0" fmla="*/ 0 w 1150258"/>
                    <a:gd name="connsiteY0" fmla="*/ 3142421 h 3142421"/>
                    <a:gd name="connsiteX1" fmla="*/ 711200 w 1150258"/>
                    <a:gd name="connsiteY1" fmla="*/ 78 h 3142421"/>
                    <a:gd name="connsiteX2" fmla="*/ 1150258 w 1150258"/>
                    <a:gd name="connsiteY2" fmla="*/ 3066221 h 3142421"/>
                    <a:gd name="connsiteX0" fmla="*/ 0 w 1150258"/>
                    <a:gd name="connsiteY0" fmla="*/ 3166407 h 3166407"/>
                    <a:gd name="connsiteX1" fmla="*/ 711200 w 1150258"/>
                    <a:gd name="connsiteY1" fmla="*/ 24064 h 3166407"/>
                    <a:gd name="connsiteX2" fmla="*/ 1150258 w 1150258"/>
                    <a:gd name="connsiteY2" fmla="*/ 3090207 h 3166407"/>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3584 h 3143584"/>
                    <a:gd name="connsiteX1" fmla="*/ 711200 w 1150258"/>
                    <a:gd name="connsiteY1" fmla="*/ 1241 h 3143584"/>
                    <a:gd name="connsiteX2" fmla="*/ 1150258 w 1150258"/>
                    <a:gd name="connsiteY2" fmla="*/ 3067384 h 3143584"/>
                    <a:gd name="connsiteX0" fmla="*/ 0 w 1150258"/>
                    <a:gd name="connsiteY0" fmla="*/ 3142343 h 3142343"/>
                    <a:gd name="connsiteX1" fmla="*/ 711200 w 1150258"/>
                    <a:gd name="connsiteY1" fmla="*/ 0 h 3142343"/>
                    <a:gd name="connsiteX2" fmla="*/ 1150258 w 1150258"/>
                    <a:gd name="connsiteY2" fmla="*/ 3066143 h 3142343"/>
                    <a:gd name="connsiteX0" fmla="*/ 0 w 1150258"/>
                    <a:gd name="connsiteY0" fmla="*/ 3142343 h 3142343"/>
                    <a:gd name="connsiteX1" fmla="*/ 711200 w 1150258"/>
                    <a:gd name="connsiteY1" fmla="*/ 0 h 3142343"/>
                    <a:gd name="connsiteX2" fmla="*/ 1150258 w 1150258"/>
                    <a:gd name="connsiteY2" fmla="*/ 3066143 h 3142343"/>
                    <a:gd name="connsiteX0" fmla="*/ 0 w 839308"/>
                    <a:gd name="connsiteY0" fmla="*/ 3142343 h 3142343"/>
                    <a:gd name="connsiteX1" fmla="*/ 711200 w 839308"/>
                    <a:gd name="connsiteY1" fmla="*/ 0 h 3142343"/>
                    <a:gd name="connsiteX2" fmla="*/ 839308 w 839308"/>
                    <a:gd name="connsiteY2" fmla="*/ 3104243 h 3142343"/>
                    <a:gd name="connsiteX0" fmla="*/ 0 w 839308"/>
                    <a:gd name="connsiteY0" fmla="*/ 3142343 h 3142343"/>
                    <a:gd name="connsiteX1" fmla="*/ 711200 w 839308"/>
                    <a:gd name="connsiteY1" fmla="*/ 0 h 3142343"/>
                    <a:gd name="connsiteX2" fmla="*/ 839308 w 839308"/>
                    <a:gd name="connsiteY2" fmla="*/ 3104243 h 3142343"/>
                    <a:gd name="connsiteX0" fmla="*/ 0 w 839308"/>
                    <a:gd name="connsiteY0" fmla="*/ 3142343 h 3142343"/>
                    <a:gd name="connsiteX1" fmla="*/ 711200 w 839308"/>
                    <a:gd name="connsiteY1" fmla="*/ 0 h 3142343"/>
                    <a:gd name="connsiteX2" fmla="*/ 839308 w 839308"/>
                    <a:gd name="connsiteY2" fmla="*/ 3104243 h 3142343"/>
                  </a:gdLst>
                  <a:ahLst/>
                  <a:cxnLst>
                    <a:cxn ang="0">
                      <a:pos x="connsiteX0" y="connsiteY0"/>
                    </a:cxn>
                    <a:cxn ang="0">
                      <a:pos x="connsiteX1" y="connsiteY1"/>
                    </a:cxn>
                    <a:cxn ang="0">
                      <a:pos x="connsiteX2" y="connsiteY2"/>
                    </a:cxn>
                  </a:cxnLst>
                  <a:rect l="l" t="t" r="r" b="b"/>
                  <a:pathLst>
                    <a:path w="839308" h="3142343">
                      <a:moveTo>
                        <a:pt x="0" y="3142343"/>
                      </a:moveTo>
                      <a:cubicBezTo>
                        <a:pt x="259745" y="1577521"/>
                        <a:pt x="410633" y="524329"/>
                        <a:pt x="711200" y="0"/>
                      </a:cubicBezTo>
                      <a:cubicBezTo>
                        <a:pt x="640677" y="951593"/>
                        <a:pt x="661415" y="2389414"/>
                        <a:pt x="839308" y="3104243"/>
                      </a:cubicBezTo>
                    </a:path>
                  </a:pathLst>
                </a:custGeom>
                <a:noFill/>
                <a:ln w="19050" cap="rnd">
                  <a:solidFill>
                    <a:schemeClr val="bg1">
                      <a:alpha val="30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grpSp>
      </p:grpSp>
      <p:grpSp>
        <p:nvGrpSpPr>
          <p:cNvPr id="152" name="Group 151"/>
          <p:cNvGrpSpPr/>
          <p:nvPr userDrawn="1"/>
        </p:nvGrpSpPr>
        <p:grpSpPr>
          <a:xfrm rot="21444120" flipH="1">
            <a:off x="10439326" y="-511848"/>
            <a:ext cx="2373023" cy="4216777"/>
            <a:chOff x="-213066" y="2126266"/>
            <a:chExt cx="2326374" cy="4134470"/>
          </a:xfrm>
        </p:grpSpPr>
        <p:grpSp>
          <p:nvGrpSpPr>
            <p:cNvPr id="153" name="Group 152"/>
            <p:cNvGrpSpPr/>
            <p:nvPr/>
          </p:nvGrpSpPr>
          <p:grpSpPr>
            <a:xfrm rot="5400000">
              <a:off x="-1021470" y="3125958"/>
              <a:ext cx="4134470" cy="2135086"/>
              <a:chOff x="2108201" y="5087492"/>
              <a:chExt cx="4484244" cy="2408425"/>
            </a:xfrm>
          </p:grpSpPr>
          <p:sp>
            <p:nvSpPr>
              <p:cNvPr id="159" name="Freeform: Shape 158"/>
              <p:cNvSpPr/>
              <p:nvPr/>
            </p:nvSpPr>
            <p:spPr>
              <a:xfrm>
                <a:off x="2108202" y="5087492"/>
                <a:ext cx="4484243" cy="2291402"/>
              </a:xfrm>
              <a:custGeom>
                <a:avLst/>
                <a:gdLst>
                  <a:gd name="connsiteX0" fmla="*/ 0 w 6527800"/>
                  <a:gd name="connsiteY0" fmla="*/ 1190184 h 2282384"/>
                  <a:gd name="connsiteX1" fmla="*/ 765628 w 6527800"/>
                  <a:gd name="connsiteY1" fmla="*/ 1865099 h 2282384"/>
                  <a:gd name="connsiteX2" fmla="*/ 1531257 w 6527800"/>
                  <a:gd name="connsiteY2" fmla="*/ 13 h 2282384"/>
                  <a:gd name="connsiteX3" fmla="*/ 2140857 w 6527800"/>
                  <a:gd name="connsiteY3" fmla="*/ 1897756 h 2282384"/>
                  <a:gd name="connsiteX4" fmla="*/ 2804886 w 6527800"/>
                  <a:gd name="connsiteY4" fmla="*/ 801927 h 2282384"/>
                  <a:gd name="connsiteX5" fmla="*/ 3291114 w 6527800"/>
                  <a:gd name="connsiteY5" fmla="*/ 1846956 h 2282384"/>
                  <a:gd name="connsiteX6" fmla="*/ 3755571 w 6527800"/>
                  <a:gd name="connsiteY6" fmla="*/ 1273641 h 2282384"/>
                  <a:gd name="connsiteX7" fmla="*/ 4071257 w 6527800"/>
                  <a:gd name="connsiteY7" fmla="*/ 1763499 h 2282384"/>
                  <a:gd name="connsiteX8" fmla="*/ 4466771 w 6527800"/>
                  <a:gd name="connsiteY8" fmla="*/ 399156 h 2282384"/>
                  <a:gd name="connsiteX9" fmla="*/ 4858657 w 6527800"/>
                  <a:gd name="connsiteY9" fmla="*/ 1357099 h 2282384"/>
                  <a:gd name="connsiteX10" fmla="*/ 5148943 w 6527800"/>
                  <a:gd name="connsiteY10" fmla="*/ 747499 h 2282384"/>
                  <a:gd name="connsiteX11" fmla="*/ 5588000 w 6527800"/>
                  <a:gd name="connsiteY11" fmla="*/ 1886870 h 2282384"/>
                  <a:gd name="connsiteX12" fmla="*/ 6074228 w 6527800"/>
                  <a:gd name="connsiteY12" fmla="*/ 928927 h 2282384"/>
                  <a:gd name="connsiteX13" fmla="*/ 6527800 w 6527800"/>
                  <a:gd name="connsiteY13" fmla="*/ 2282384 h 2282384"/>
                  <a:gd name="connsiteX0" fmla="*/ 0 w 6625100"/>
                  <a:gd name="connsiteY0" fmla="*/ 1190184 h 2687163"/>
                  <a:gd name="connsiteX1" fmla="*/ 765628 w 6625100"/>
                  <a:gd name="connsiteY1" fmla="*/ 1865099 h 2687163"/>
                  <a:gd name="connsiteX2" fmla="*/ 1531257 w 6625100"/>
                  <a:gd name="connsiteY2" fmla="*/ 13 h 2687163"/>
                  <a:gd name="connsiteX3" fmla="*/ 2140857 w 6625100"/>
                  <a:gd name="connsiteY3" fmla="*/ 1897756 h 2687163"/>
                  <a:gd name="connsiteX4" fmla="*/ 2804886 w 6625100"/>
                  <a:gd name="connsiteY4" fmla="*/ 801927 h 2687163"/>
                  <a:gd name="connsiteX5" fmla="*/ 3291114 w 6625100"/>
                  <a:gd name="connsiteY5" fmla="*/ 1846956 h 2687163"/>
                  <a:gd name="connsiteX6" fmla="*/ 3755571 w 6625100"/>
                  <a:gd name="connsiteY6" fmla="*/ 1273641 h 2687163"/>
                  <a:gd name="connsiteX7" fmla="*/ 4071257 w 6625100"/>
                  <a:gd name="connsiteY7" fmla="*/ 1763499 h 2687163"/>
                  <a:gd name="connsiteX8" fmla="*/ 4466771 w 6625100"/>
                  <a:gd name="connsiteY8" fmla="*/ 399156 h 2687163"/>
                  <a:gd name="connsiteX9" fmla="*/ 4858657 w 6625100"/>
                  <a:gd name="connsiteY9" fmla="*/ 1357099 h 2687163"/>
                  <a:gd name="connsiteX10" fmla="*/ 5148943 w 6625100"/>
                  <a:gd name="connsiteY10" fmla="*/ 747499 h 2687163"/>
                  <a:gd name="connsiteX11" fmla="*/ 5588000 w 6625100"/>
                  <a:gd name="connsiteY11" fmla="*/ 1886870 h 2687163"/>
                  <a:gd name="connsiteX12" fmla="*/ 6074228 w 6625100"/>
                  <a:gd name="connsiteY12" fmla="*/ 928927 h 2687163"/>
                  <a:gd name="connsiteX13" fmla="*/ 6625100 w 6625100"/>
                  <a:gd name="connsiteY13" fmla="*/ 2687163 h 2687163"/>
                  <a:gd name="connsiteX0" fmla="*/ 0 w 5859472"/>
                  <a:gd name="connsiteY0" fmla="*/ 1865099 h 2687163"/>
                  <a:gd name="connsiteX1" fmla="*/ 765629 w 5859472"/>
                  <a:gd name="connsiteY1" fmla="*/ 13 h 2687163"/>
                  <a:gd name="connsiteX2" fmla="*/ 1375229 w 5859472"/>
                  <a:gd name="connsiteY2" fmla="*/ 1897756 h 2687163"/>
                  <a:gd name="connsiteX3" fmla="*/ 2039258 w 5859472"/>
                  <a:gd name="connsiteY3" fmla="*/ 801927 h 2687163"/>
                  <a:gd name="connsiteX4" fmla="*/ 2525486 w 5859472"/>
                  <a:gd name="connsiteY4" fmla="*/ 1846956 h 2687163"/>
                  <a:gd name="connsiteX5" fmla="*/ 2989943 w 5859472"/>
                  <a:gd name="connsiteY5" fmla="*/ 1273641 h 2687163"/>
                  <a:gd name="connsiteX6" fmla="*/ 3305629 w 5859472"/>
                  <a:gd name="connsiteY6" fmla="*/ 1763499 h 2687163"/>
                  <a:gd name="connsiteX7" fmla="*/ 3701143 w 5859472"/>
                  <a:gd name="connsiteY7" fmla="*/ 399156 h 2687163"/>
                  <a:gd name="connsiteX8" fmla="*/ 4093029 w 5859472"/>
                  <a:gd name="connsiteY8" fmla="*/ 1357099 h 2687163"/>
                  <a:gd name="connsiteX9" fmla="*/ 4383315 w 5859472"/>
                  <a:gd name="connsiteY9" fmla="*/ 747499 h 2687163"/>
                  <a:gd name="connsiteX10" fmla="*/ 4822372 w 5859472"/>
                  <a:gd name="connsiteY10" fmla="*/ 1886870 h 2687163"/>
                  <a:gd name="connsiteX11" fmla="*/ 5308600 w 5859472"/>
                  <a:gd name="connsiteY11" fmla="*/ 928927 h 2687163"/>
                  <a:gd name="connsiteX12" fmla="*/ 5859472 w 5859472"/>
                  <a:gd name="connsiteY12" fmla="*/ 2687163 h 2687163"/>
                  <a:gd name="connsiteX0" fmla="*/ -1 w 5093842"/>
                  <a:gd name="connsiteY0" fmla="*/ -1 h 2687149"/>
                  <a:gd name="connsiteX1" fmla="*/ 609599 w 5093842"/>
                  <a:gd name="connsiteY1" fmla="*/ 1897742 h 2687149"/>
                  <a:gd name="connsiteX2" fmla="*/ 1273628 w 5093842"/>
                  <a:gd name="connsiteY2" fmla="*/ 801913 h 2687149"/>
                  <a:gd name="connsiteX3" fmla="*/ 1759856 w 5093842"/>
                  <a:gd name="connsiteY3" fmla="*/ 1846942 h 2687149"/>
                  <a:gd name="connsiteX4" fmla="*/ 2224313 w 5093842"/>
                  <a:gd name="connsiteY4" fmla="*/ 1273627 h 2687149"/>
                  <a:gd name="connsiteX5" fmla="*/ 2539999 w 5093842"/>
                  <a:gd name="connsiteY5" fmla="*/ 1763485 h 2687149"/>
                  <a:gd name="connsiteX6" fmla="*/ 2935513 w 5093842"/>
                  <a:gd name="connsiteY6" fmla="*/ 399142 h 2687149"/>
                  <a:gd name="connsiteX7" fmla="*/ 3327399 w 5093842"/>
                  <a:gd name="connsiteY7" fmla="*/ 1357085 h 2687149"/>
                  <a:gd name="connsiteX8" fmla="*/ 3617685 w 5093842"/>
                  <a:gd name="connsiteY8" fmla="*/ 747485 h 2687149"/>
                  <a:gd name="connsiteX9" fmla="*/ 4056742 w 5093842"/>
                  <a:gd name="connsiteY9" fmla="*/ 1886856 h 2687149"/>
                  <a:gd name="connsiteX10" fmla="*/ 4542970 w 5093842"/>
                  <a:gd name="connsiteY10" fmla="*/ 928913 h 2687149"/>
                  <a:gd name="connsiteX11" fmla="*/ 5093842 w 5093842"/>
                  <a:gd name="connsiteY11" fmla="*/ 2687149 h 2687149"/>
                  <a:gd name="connsiteX0" fmla="*/ 0 w 4484243"/>
                  <a:gd name="connsiteY0" fmla="*/ 1501995 h 2291402"/>
                  <a:gd name="connsiteX1" fmla="*/ 664029 w 4484243"/>
                  <a:gd name="connsiteY1" fmla="*/ 406166 h 2291402"/>
                  <a:gd name="connsiteX2" fmla="*/ 1150257 w 4484243"/>
                  <a:gd name="connsiteY2" fmla="*/ 1451195 h 2291402"/>
                  <a:gd name="connsiteX3" fmla="*/ 1614714 w 4484243"/>
                  <a:gd name="connsiteY3" fmla="*/ 877880 h 2291402"/>
                  <a:gd name="connsiteX4" fmla="*/ 1930400 w 4484243"/>
                  <a:gd name="connsiteY4" fmla="*/ 1367738 h 2291402"/>
                  <a:gd name="connsiteX5" fmla="*/ 2325914 w 4484243"/>
                  <a:gd name="connsiteY5" fmla="*/ 3395 h 2291402"/>
                  <a:gd name="connsiteX6" fmla="*/ 2717800 w 4484243"/>
                  <a:gd name="connsiteY6" fmla="*/ 961338 h 2291402"/>
                  <a:gd name="connsiteX7" fmla="*/ 3008086 w 4484243"/>
                  <a:gd name="connsiteY7" fmla="*/ 351738 h 2291402"/>
                  <a:gd name="connsiteX8" fmla="*/ 3447143 w 4484243"/>
                  <a:gd name="connsiteY8" fmla="*/ 1491109 h 2291402"/>
                  <a:gd name="connsiteX9" fmla="*/ 3933371 w 4484243"/>
                  <a:gd name="connsiteY9" fmla="*/ 533166 h 2291402"/>
                  <a:gd name="connsiteX10" fmla="*/ 4484243 w 4484243"/>
                  <a:gd name="connsiteY10" fmla="*/ 2291402 h 2291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84243" h="2291402">
                    <a:moveTo>
                      <a:pt x="0" y="1501995"/>
                    </a:moveTo>
                    <a:cubicBezTo>
                      <a:pt x="212272" y="1635647"/>
                      <a:pt x="472320" y="414633"/>
                      <a:pt x="664029" y="406166"/>
                    </a:cubicBezTo>
                    <a:cubicBezTo>
                      <a:pt x="855738" y="397699"/>
                      <a:pt x="991810" y="1372576"/>
                      <a:pt x="1150257" y="1451195"/>
                    </a:cubicBezTo>
                    <a:cubicBezTo>
                      <a:pt x="1308704" y="1529814"/>
                      <a:pt x="1484690" y="891789"/>
                      <a:pt x="1614714" y="877880"/>
                    </a:cubicBezTo>
                    <a:cubicBezTo>
                      <a:pt x="1744738" y="863971"/>
                      <a:pt x="1811867" y="1513486"/>
                      <a:pt x="1930400" y="1367738"/>
                    </a:cubicBezTo>
                    <a:cubicBezTo>
                      <a:pt x="2048933" y="1221991"/>
                      <a:pt x="2194681" y="71128"/>
                      <a:pt x="2325914" y="3395"/>
                    </a:cubicBezTo>
                    <a:cubicBezTo>
                      <a:pt x="2457147" y="-64338"/>
                      <a:pt x="2604105" y="903281"/>
                      <a:pt x="2717800" y="961338"/>
                    </a:cubicBezTo>
                    <a:cubicBezTo>
                      <a:pt x="2831495" y="1019395"/>
                      <a:pt x="2886529" y="263443"/>
                      <a:pt x="3008086" y="351738"/>
                    </a:cubicBezTo>
                    <a:cubicBezTo>
                      <a:pt x="3129643" y="440033"/>
                      <a:pt x="3292929" y="1460871"/>
                      <a:pt x="3447143" y="1491109"/>
                    </a:cubicBezTo>
                    <a:cubicBezTo>
                      <a:pt x="3601357" y="1521347"/>
                      <a:pt x="3760521" y="399784"/>
                      <a:pt x="3933371" y="533166"/>
                    </a:cubicBezTo>
                    <a:cubicBezTo>
                      <a:pt x="4106221" y="666548"/>
                      <a:pt x="4335773" y="1647633"/>
                      <a:pt x="4484243" y="2291402"/>
                    </a:cubicBezTo>
                  </a:path>
                </a:pathLst>
              </a:custGeom>
              <a:noFill/>
              <a:ln>
                <a:solidFill>
                  <a:schemeClr val="bg1">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60" name="Freeform: Shape 159"/>
              <p:cNvSpPr/>
              <p:nvPr/>
            </p:nvSpPr>
            <p:spPr>
              <a:xfrm>
                <a:off x="2108202" y="5531345"/>
                <a:ext cx="4445322" cy="1864309"/>
              </a:xfrm>
              <a:custGeom>
                <a:avLst/>
                <a:gdLst>
                  <a:gd name="connsiteX0" fmla="*/ 0 w 6527800"/>
                  <a:gd name="connsiteY0" fmla="*/ 1190184 h 2282384"/>
                  <a:gd name="connsiteX1" fmla="*/ 765628 w 6527800"/>
                  <a:gd name="connsiteY1" fmla="*/ 1865099 h 2282384"/>
                  <a:gd name="connsiteX2" fmla="*/ 1531257 w 6527800"/>
                  <a:gd name="connsiteY2" fmla="*/ 13 h 2282384"/>
                  <a:gd name="connsiteX3" fmla="*/ 2140857 w 6527800"/>
                  <a:gd name="connsiteY3" fmla="*/ 1897756 h 2282384"/>
                  <a:gd name="connsiteX4" fmla="*/ 2804886 w 6527800"/>
                  <a:gd name="connsiteY4" fmla="*/ 801927 h 2282384"/>
                  <a:gd name="connsiteX5" fmla="*/ 3291114 w 6527800"/>
                  <a:gd name="connsiteY5" fmla="*/ 1846956 h 2282384"/>
                  <a:gd name="connsiteX6" fmla="*/ 3755571 w 6527800"/>
                  <a:gd name="connsiteY6" fmla="*/ 1273641 h 2282384"/>
                  <a:gd name="connsiteX7" fmla="*/ 4071257 w 6527800"/>
                  <a:gd name="connsiteY7" fmla="*/ 1763499 h 2282384"/>
                  <a:gd name="connsiteX8" fmla="*/ 4466771 w 6527800"/>
                  <a:gd name="connsiteY8" fmla="*/ 399156 h 2282384"/>
                  <a:gd name="connsiteX9" fmla="*/ 4858657 w 6527800"/>
                  <a:gd name="connsiteY9" fmla="*/ 1357099 h 2282384"/>
                  <a:gd name="connsiteX10" fmla="*/ 5148943 w 6527800"/>
                  <a:gd name="connsiteY10" fmla="*/ 747499 h 2282384"/>
                  <a:gd name="connsiteX11" fmla="*/ 5588000 w 6527800"/>
                  <a:gd name="connsiteY11" fmla="*/ 1886870 h 2282384"/>
                  <a:gd name="connsiteX12" fmla="*/ 6074228 w 6527800"/>
                  <a:gd name="connsiteY12" fmla="*/ 928927 h 2282384"/>
                  <a:gd name="connsiteX13" fmla="*/ 6527800 w 6527800"/>
                  <a:gd name="connsiteY13" fmla="*/ 2282384 h 2282384"/>
                  <a:gd name="connsiteX0" fmla="*/ 0 w 6586180"/>
                  <a:gd name="connsiteY0" fmla="*/ 1190184 h 2518602"/>
                  <a:gd name="connsiteX1" fmla="*/ 765628 w 6586180"/>
                  <a:gd name="connsiteY1" fmla="*/ 1865099 h 2518602"/>
                  <a:gd name="connsiteX2" fmla="*/ 1531257 w 6586180"/>
                  <a:gd name="connsiteY2" fmla="*/ 13 h 2518602"/>
                  <a:gd name="connsiteX3" fmla="*/ 2140857 w 6586180"/>
                  <a:gd name="connsiteY3" fmla="*/ 1897756 h 2518602"/>
                  <a:gd name="connsiteX4" fmla="*/ 2804886 w 6586180"/>
                  <a:gd name="connsiteY4" fmla="*/ 801927 h 2518602"/>
                  <a:gd name="connsiteX5" fmla="*/ 3291114 w 6586180"/>
                  <a:gd name="connsiteY5" fmla="*/ 1846956 h 2518602"/>
                  <a:gd name="connsiteX6" fmla="*/ 3755571 w 6586180"/>
                  <a:gd name="connsiteY6" fmla="*/ 1273641 h 2518602"/>
                  <a:gd name="connsiteX7" fmla="*/ 4071257 w 6586180"/>
                  <a:gd name="connsiteY7" fmla="*/ 1763499 h 2518602"/>
                  <a:gd name="connsiteX8" fmla="*/ 4466771 w 6586180"/>
                  <a:gd name="connsiteY8" fmla="*/ 399156 h 2518602"/>
                  <a:gd name="connsiteX9" fmla="*/ 4858657 w 6586180"/>
                  <a:gd name="connsiteY9" fmla="*/ 1357099 h 2518602"/>
                  <a:gd name="connsiteX10" fmla="*/ 5148943 w 6586180"/>
                  <a:gd name="connsiteY10" fmla="*/ 747499 h 2518602"/>
                  <a:gd name="connsiteX11" fmla="*/ 5588000 w 6586180"/>
                  <a:gd name="connsiteY11" fmla="*/ 1886870 h 2518602"/>
                  <a:gd name="connsiteX12" fmla="*/ 6074228 w 6586180"/>
                  <a:gd name="connsiteY12" fmla="*/ 928927 h 2518602"/>
                  <a:gd name="connsiteX13" fmla="*/ 6586180 w 6586180"/>
                  <a:gd name="connsiteY13" fmla="*/ 2518602 h 2518602"/>
                  <a:gd name="connsiteX0" fmla="*/ 0 w 5820552"/>
                  <a:gd name="connsiteY0" fmla="*/ 1865099 h 2518602"/>
                  <a:gd name="connsiteX1" fmla="*/ 765629 w 5820552"/>
                  <a:gd name="connsiteY1" fmla="*/ 13 h 2518602"/>
                  <a:gd name="connsiteX2" fmla="*/ 1375229 w 5820552"/>
                  <a:gd name="connsiteY2" fmla="*/ 1897756 h 2518602"/>
                  <a:gd name="connsiteX3" fmla="*/ 2039258 w 5820552"/>
                  <a:gd name="connsiteY3" fmla="*/ 801927 h 2518602"/>
                  <a:gd name="connsiteX4" fmla="*/ 2525486 w 5820552"/>
                  <a:gd name="connsiteY4" fmla="*/ 1846956 h 2518602"/>
                  <a:gd name="connsiteX5" fmla="*/ 2989943 w 5820552"/>
                  <a:gd name="connsiteY5" fmla="*/ 1273641 h 2518602"/>
                  <a:gd name="connsiteX6" fmla="*/ 3305629 w 5820552"/>
                  <a:gd name="connsiteY6" fmla="*/ 1763499 h 2518602"/>
                  <a:gd name="connsiteX7" fmla="*/ 3701143 w 5820552"/>
                  <a:gd name="connsiteY7" fmla="*/ 399156 h 2518602"/>
                  <a:gd name="connsiteX8" fmla="*/ 4093029 w 5820552"/>
                  <a:gd name="connsiteY8" fmla="*/ 1357099 h 2518602"/>
                  <a:gd name="connsiteX9" fmla="*/ 4383315 w 5820552"/>
                  <a:gd name="connsiteY9" fmla="*/ 747499 h 2518602"/>
                  <a:gd name="connsiteX10" fmla="*/ 4822372 w 5820552"/>
                  <a:gd name="connsiteY10" fmla="*/ 1886870 h 2518602"/>
                  <a:gd name="connsiteX11" fmla="*/ 5308600 w 5820552"/>
                  <a:gd name="connsiteY11" fmla="*/ 928927 h 2518602"/>
                  <a:gd name="connsiteX12" fmla="*/ 5820552 w 5820552"/>
                  <a:gd name="connsiteY12" fmla="*/ 2518602 h 2518602"/>
                  <a:gd name="connsiteX0" fmla="*/ 0 w 5054923"/>
                  <a:gd name="connsiteY0" fmla="*/ 0 h 2518589"/>
                  <a:gd name="connsiteX1" fmla="*/ 609600 w 5054923"/>
                  <a:gd name="connsiteY1" fmla="*/ 1897743 h 2518589"/>
                  <a:gd name="connsiteX2" fmla="*/ 1273629 w 5054923"/>
                  <a:gd name="connsiteY2" fmla="*/ 801914 h 2518589"/>
                  <a:gd name="connsiteX3" fmla="*/ 1759857 w 5054923"/>
                  <a:gd name="connsiteY3" fmla="*/ 1846943 h 2518589"/>
                  <a:gd name="connsiteX4" fmla="*/ 2224314 w 5054923"/>
                  <a:gd name="connsiteY4" fmla="*/ 1273628 h 2518589"/>
                  <a:gd name="connsiteX5" fmla="*/ 2540000 w 5054923"/>
                  <a:gd name="connsiteY5" fmla="*/ 1763486 h 2518589"/>
                  <a:gd name="connsiteX6" fmla="*/ 2935514 w 5054923"/>
                  <a:gd name="connsiteY6" fmla="*/ 399143 h 2518589"/>
                  <a:gd name="connsiteX7" fmla="*/ 3327400 w 5054923"/>
                  <a:gd name="connsiteY7" fmla="*/ 1357086 h 2518589"/>
                  <a:gd name="connsiteX8" fmla="*/ 3617686 w 5054923"/>
                  <a:gd name="connsiteY8" fmla="*/ 747486 h 2518589"/>
                  <a:gd name="connsiteX9" fmla="*/ 4056743 w 5054923"/>
                  <a:gd name="connsiteY9" fmla="*/ 1886857 h 2518589"/>
                  <a:gd name="connsiteX10" fmla="*/ 4542971 w 5054923"/>
                  <a:gd name="connsiteY10" fmla="*/ 928914 h 2518589"/>
                  <a:gd name="connsiteX11" fmla="*/ 5054923 w 5054923"/>
                  <a:gd name="connsiteY11" fmla="*/ 2518589 h 2518589"/>
                  <a:gd name="connsiteX0" fmla="*/ 0 w 4445323"/>
                  <a:gd name="connsiteY0" fmla="*/ 1501995 h 2122841"/>
                  <a:gd name="connsiteX1" fmla="*/ 664029 w 4445323"/>
                  <a:gd name="connsiteY1" fmla="*/ 406166 h 2122841"/>
                  <a:gd name="connsiteX2" fmla="*/ 1150257 w 4445323"/>
                  <a:gd name="connsiteY2" fmla="*/ 1451195 h 2122841"/>
                  <a:gd name="connsiteX3" fmla="*/ 1614714 w 4445323"/>
                  <a:gd name="connsiteY3" fmla="*/ 877880 h 2122841"/>
                  <a:gd name="connsiteX4" fmla="*/ 1930400 w 4445323"/>
                  <a:gd name="connsiteY4" fmla="*/ 1367738 h 2122841"/>
                  <a:gd name="connsiteX5" fmla="*/ 2325914 w 4445323"/>
                  <a:gd name="connsiteY5" fmla="*/ 3395 h 2122841"/>
                  <a:gd name="connsiteX6" fmla="*/ 2717800 w 4445323"/>
                  <a:gd name="connsiteY6" fmla="*/ 961338 h 2122841"/>
                  <a:gd name="connsiteX7" fmla="*/ 3008086 w 4445323"/>
                  <a:gd name="connsiteY7" fmla="*/ 351738 h 2122841"/>
                  <a:gd name="connsiteX8" fmla="*/ 3447143 w 4445323"/>
                  <a:gd name="connsiteY8" fmla="*/ 1491109 h 2122841"/>
                  <a:gd name="connsiteX9" fmla="*/ 3933371 w 4445323"/>
                  <a:gd name="connsiteY9" fmla="*/ 533166 h 2122841"/>
                  <a:gd name="connsiteX10" fmla="*/ 4445323 w 4445323"/>
                  <a:gd name="connsiteY10" fmla="*/ 2122841 h 2122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45323" h="2122841">
                    <a:moveTo>
                      <a:pt x="0" y="1501995"/>
                    </a:moveTo>
                    <a:cubicBezTo>
                      <a:pt x="212272" y="1635647"/>
                      <a:pt x="472320" y="414633"/>
                      <a:pt x="664029" y="406166"/>
                    </a:cubicBezTo>
                    <a:cubicBezTo>
                      <a:pt x="855738" y="397699"/>
                      <a:pt x="991810" y="1372576"/>
                      <a:pt x="1150257" y="1451195"/>
                    </a:cubicBezTo>
                    <a:cubicBezTo>
                      <a:pt x="1308704" y="1529814"/>
                      <a:pt x="1484690" y="891789"/>
                      <a:pt x="1614714" y="877880"/>
                    </a:cubicBezTo>
                    <a:cubicBezTo>
                      <a:pt x="1744738" y="863971"/>
                      <a:pt x="1811867" y="1513486"/>
                      <a:pt x="1930400" y="1367738"/>
                    </a:cubicBezTo>
                    <a:cubicBezTo>
                      <a:pt x="2048933" y="1221991"/>
                      <a:pt x="2194681" y="71128"/>
                      <a:pt x="2325914" y="3395"/>
                    </a:cubicBezTo>
                    <a:cubicBezTo>
                      <a:pt x="2457147" y="-64338"/>
                      <a:pt x="2604105" y="903281"/>
                      <a:pt x="2717800" y="961338"/>
                    </a:cubicBezTo>
                    <a:cubicBezTo>
                      <a:pt x="2831495" y="1019395"/>
                      <a:pt x="2886529" y="263443"/>
                      <a:pt x="3008086" y="351738"/>
                    </a:cubicBezTo>
                    <a:cubicBezTo>
                      <a:pt x="3129643" y="440033"/>
                      <a:pt x="3292929" y="1460871"/>
                      <a:pt x="3447143" y="1491109"/>
                    </a:cubicBezTo>
                    <a:cubicBezTo>
                      <a:pt x="3601357" y="1521347"/>
                      <a:pt x="3767008" y="427877"/>
                      <a:pt x="3933371" y="533166"/>
                    </a:cubicBezTo>
                    <a:cubicBezTo>
                      <a:pt x="4099734" y="638455"/>
                      <a:pt x="4296853" y="1479072"/>
                      <a:pt x="4445323" y="2122841"/>
                    </a:cubicBezTo>
                  </a:path>
                </a:pathLst>
              </a:custGeom>
              <a:noFill/>
              <a:ln>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61" name="Freeform: Shape 160"/>
              <p:cNvSpPr/>
              <p:nvPr/>
            </p:nvSpPr>
            <p:spPr>
              <a:xfrm>
                <a:off x="2108201" y="6195930"/>
                <a:ext cx="4386943" cy="1220173"/>
              </a:xfrm>
              <a:custGeom>
                <a:avLst/>
                <a:gdLst>
                  <a:gd name="connsiteX0" fmla="*/ 0 w 6527800"/>
                  <a:gd name="connsiteY0" fmla="*/ 1190184 h 2282384"/>
                  <a:gd name="connsiteX1" fmla="*/ 765628 w 6527800"/>
                  <a:gd name="connsiteY1" fmla="*/ 1865099 h 2282384"/>
                  <a:gd name="connsiteX2" fmla="*/ 1531257 w 6527800"/>
                  <a:gd name="connsiteY2" fmla="*/ 13 h 2282384"/>
                  <a:gd name="connsiteX3" fmla="*/ 2140857 w 6527800"/>
                  <a:gd name="connsiteY3" fmla="*/ 1897756 h 2282384"/>
                  <a:gd name="connsiteX4" fmla="*/ 2804886 w 6527800"/>
                  <a:gd name="connsiteY4" fmla="*/ 801927 h 2282384"/>
                  <a:gd name="connsiteX5" fmla="*/ 3291114 w 6527800"/>
                  <a:gd name="connsiteY5" fmla="*/ 1846956 h 2282384"/>
                  <a:gd name="connsiteX6" fmla="*/ 3755571 w 6527800"/>
                  <a:gd name="connsiteY6" fmla="*/ 1273641 h 2282384"/>
                  <a:gd name="connsiteX7" fmla="*/ 4071257 w 6527800"/>
                  <a:gd name="connsiteY7" fmla="*/ 1763499 h 2282384"/>
                  <a:gd name="connsiteX8" fmla="*/ 4466771 w 6527800"/>
                  <a:gd name="connsiteY8" fmla="*/ 399156 h 2282384"/>
                  <a:gd name="connsiteX9" fmla="*/ 4858657 w 6527800"/>
                  <a:gd name="connsiteY9" fmla="*/ 1357099 h 2282384"/>
                  <a:gd name="connsiteX10" fmla="*/ 5148943 w 6527800"/>
                  <a:gd name="connsiteY10" fmla="*/ 747499 h 2282384"/>
                  <a:gd name="connsiteX11" fmla="*/ 5588000 w 6527800"/>
                  <a:gd name="connsiteY11" fmla="*/ 1886870 h 2282384"/>
                  <a:gd name="connsiteX12" fmla="*/ 6074228 w 6527800"/>
                  <a:gd name="connsiteY12" fmla="*/ 928927 h 2282384"/>
                  <a:gd name="connsiteX13" fmla="*/ 6527800 w 6527800"/>
                  <a:gd name="connsiteY13" fmla="*/ 2282384 h 2282384"/>
                  <a:gd name="connsiteX0" fmla="*/ 0 w 5762172"/>
                  <a:gd name="connsiteY0" fmla="*/ 1865099 h 2282384"/>
                  <a:gd name="connsiteX1" fmla="*/ 765629 w 5762172"/>
                  <a:gd name="connsiteY1" fmla="*/ 13 h 2282384"/>
                  <a:gd name="connsiteX2" fmla="*/ 1375229 w 5762172"/>
                  <a:gd name="connsiteY2" fmla="*/ 1897756 h 2282384"/>
                  <a:gd name="connsiteX3" fmla="*/ 2039258 w 5762172"/>
                  <a:gd name="connsiteY3" fmla="*/ 801927 h 2282384"/>
                  <a:gd name="connsiteX4" fmla="*/ 2525486 w 5762172"/>
                  <a:gd name="connsiteY4" fmla="*/ 1846956 h 2282384"/>
                  <a:gd name="connsiteX5" fmla="*/ 2989943 w 5762172"/>
                  <a:gd name="connsiteY5" fmla="*/ 1273641 h 2282384"/>
                  <a:gd name="connsiteX6" fmla="*/ 3305629 w 5762172"/>
                  <a:gd name="connsiteY6" fmla="*/ 1763499 h 2282384"/>
                  <a:gd name="connsiteX7" fmla="*/ 3701143 w 5762172"/>
                  <a:gd name="connsiteY7" fmla="*/ 399156 h 2282384"/>
                  <a:gd name="connsiteX8" fmla="*/ 4093029 w 5762172"/>
                  <a:gd name="connsiteY8" fmla="*/ 1357099 h 2282384"/>
                  <a:gd name="connsiteX9" fmla="*/ 4383315 w 5762172"/>
                  <a:gd name="connsiteY9" fmla="*/ 747499 h 2282384"/>
                  <a:gd name="connsiteX10" fmla="*/ 4822372 w 5762172"/>
                  <a:gd name="connsiteY10" fmla="*/ 1886870 h 2282384"/>
                  <a:gd name="connsiteX11" fmla="*/ 5308600 w 5762172"/>
                  <a:gd name="connsiteY11" fmla="*/ 928927 h 2282384"/>
                  <a:gd name="connsiteX12" fmla="*/ 5762172 w 5762172"/>
                  <a:gd name="connsiteY12" fmla="*/ 2282384 h 2282384"/>
                  <a:gd name="connsiteX0" fmla="*/ 0 w 4996543"/>
                  <a:gd name="connsiteY0" fmla="*/ 1 h 2282372"/>
                  <a:gd name="connsiteX1" fmla="*/ 609600 w 4996543"/>
                  <a:gd name="connsiteY1" fmla="*/ 1897744 h 2282372"/>
                  <a:gd name="connsiteX2" fmla="*/ 1273629 w 4996543"/>
                  <a:gd name="connsiteY2" fmla="*/ 801915 h 2282372"/>
                  <a:gd name="connsiteX3" fmla="*/ 1759857 w 4996543"/>
                  <a:gd name="connsiteY3" fmla="*/ 1846944 h 2282372"/>
                  <a:gd name="connsiteX4" fmla="*/ 2224314 w 4996543"/>
                  <a:gd name="connsiteY4" fmla="*/ 1273629 h 2282372"/>
                  <a:gd name="connsiteX5" fmla="*/ 2540000 w 4996543"/>
                  <a:gd name="connsiteY5" fmla="*/ 1763487 h 2282372"/>
                  <a:gd name="connsiteX6" fmla="*/ 2935514 w 4996543"/>
                  <a:gd name="connsiteY6" fmla="*/ 399144 h 2282372"/>
                  <a:gd name="connsiteX7" fmla="*/ 3327400 w 4996543"/>
                  <a:gd name="connsiteY7" fmla="*/ 1357087 h 2282372"/>
                  <a:gd name="connsiteX8" fmla="*/ 3617686 w 4996543"/>
                  <a:gd name="connsiteY8" fmla="*/ 747487 h 2282372"/>
                  <a:gd name="connsiteX9" fmla="*/ 4056743 w 4996543"/>
                  <a:gd name="connsiteY9" fmla="*/ 1886858 h 2282372"/>
                  <a:gd name="connsiteX10" fmla="*/ 4542971 w 4996543"/>
                  <a:gd name="connsiteY10" fmla="*/ 928915 h 2282372"/>
                  <a:gd name="connsiteX11" fmla="*/ 4996543 w 4996543"/>
                  <a:gd name="connsiteY11" fmla="*/ 2282372 h 2282372"/>
                  <a:gd name="connsiteX0" fmla="*/ 0 w 4386943"/>
                  <a:gd name="connsiteY0" fmla="*/ 1501995 h 1886623"/>
                  <a:gd name="connsiteX1" fmla="*/ 664029 w 4386943"/>
                  <a:gd name="connsiteY1" fmla="*/ 406166 h 1886623"/>
                  <a:gd name="connsiteX2" fmla="*/ 1150257 w 4386943"/>
                  <a:gd name="connsiteY2" fmla="*/ 1451195 h 1886623"/>
                  <a:gd name="connsiteX3" fmla="*/ 1614714 w 4386943"/>
                  <a:gd name="connsiteY3" fmla="*/ 877880 h 1886623"/>
                  <a:gd name="connsiteX4" fmla="*/ 1930400 w 4386943"/>
                  <a:gd name="connsiteY4" fmla="*/ 1367738 h 1886623"/>
                  <a:gd name="connsiteX5" fmla="*/ 2325914 w 4386943"/>
                  <a:gd name="connsiteY5" fmla="*/ 3395 h 1886623"/>
                  <a:gd name="connsiteX6" fmla="*/ 2717800 w 4386943"/>
                  <a:gd name="connsiteY6" fmla="*/ 961338 h 1886623"/>
                  <a:gd name="connsiteX7" fmla="*/ 3008086 w 4386943"/>
                  <a:gd name="connsiteY7" fmla="*/ 351738 h 1886623"/>
                  <a:gd name="connsiteX8" fmla="*/ 3447143 w 4386943"/>
                  <a:gd name="connsiteY8" fmla="*/ 1491109 h 1886623"/>
                  <a:gd name="connsiteX9" fmla="*/ 3933371 w 4386943"/>
                  <a:gd name="connsiteY9" fmla="*/ 533166 h 1886623"/>
                  <a:gd name="connsiteX10" fmla="*/ 4386943 w 4386943"/>
                  <a:gd name="connsiteY10" fmla="*/ 1886623 h 1886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86943" h="1886623">
                    <a:moveTo>
                      <a:pt x="0" y="1501995"/>
                    </a:moveTo>
                    <a:cubicBezTo>
                      <a:pt x="212272" y="1635647"/>
                      <a:pt x="472320" y="414633"/>
                      <a:pt x="664029" y="406166"/>
                    </a:cubicBezTo>
                    <a:cubicBezTo>
                      <a:pt x="855738" y="397699"/>
                      <a:pt x="991810" y="1372576"/>
                      <a:pt x="1150257" y="1451195"/>
                    </a:cubicBezTo>
                    <a:cubicBezTo>
                      <a:pt x="1308704" y="1529814"/>
                      <a:pt x="1484690" y="891789"/>
                      <a:pt x="1614714" y="877880"/>
                    </a:cubicBezTo>
                    <a:cubicBezTo>
                      <a:pt x="1744738" y="863971"/>
                      <a:pt x="1811867" y="1513486"/>
                      <a:pt x="1930400" y="1367738"/>
                    </a:cubicBezTo>
                    <a:cubicBezTo>
                      <a:pt x="2048933" y="1221991"/>
                      <a:pt x="2194681" y="71128"/>
                      <a:pt x="2325914" y="3395"/>
                    </a:cubicBezTo>
                    <a:cubicBezTo>
                      <a:pt x="2457147" y="-64338"/>
                      <a:pt x="2604105" y="903281"/>
                      <a:pt x="2717800" y="961338"/>
                    </a:cubicBezTo>
                    <a:cubicBezTo>
                      <a:pt x="2831495" y="1019395"/>
                      <a:pt x="2886529" y="263443"/>
                      <a:pt x="3008086" y="351738"/>
                    </a:cubicBezTo>
                    <a:cubicBezTo>
                      <a:pt x="3129643" y="440033"/>
                      <a:pt x="3292929" y="1460871"/>
                      <a:pt x="3447143" y="1491109"/>
                    </a:cubicBezTo>
                    <a:cubicBezTo>
                      <a:pt x="3601357" y="1521347"/>
                      <a:pt x="3776738" y="467247"/>
                      <a:pt x="3933371" y="533166"/>
                    </a:cubicBezTo>
                    <a:cubicBezTo>
                      <a:pt x="4090004" y="599085"/>
                      <a:pt x="4238473" y="1242854"/>
                      <a:pt x="4386943" y="1886623"/>
                    </a:cubicBezTo>
                  </a:path>
                </a:pathLst>
              </a:custGeom>
              <a:noFill/>
              <a:ln>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62" name="Freeform: Shape 161"/>
              <p:cNvSpPr/>
              <p:nvPr/>
            </p:nvSpPr>
            <p:spPr>
              <a:xfrm>
                <a:off x="2108201" y="6633272"/>
                <a:ext cx="4386943" cy="862645"/>
              </a:xfrm>
              <a:custGeom>
                <a:avLst/>
                <a:gdLst>
                  <a:gd name="connsiteX0" fmla="*/ 0 w 6527800"/>
                  <a:gd name="connsiteY0" fmla="*/ 1190184 h 2282384"/>
                  <a:gd name="connsiteX1" fmla="*/ 765628 w 6527800"/>
                  <a:gd name="connsiteY1" fmla="*/ 1865099 h 2282384"/>
                  <a:gd name="connsiteX2" fmla="*/ 1531257 w 6527800"/>
                  <a:gd name="connsiteY2" fmla="*/ 13 h 2282384"/>
                  <a:gd name="connsiteX3" fmla="*/ 2140857 w 6527800"/>
                  <a:gd name="connsiteY3" fmla="*/ 1897756 h 2282384"/>
                  <a:gd name="connsiteX4" fmla="*/ 2804886 w 6527800"/>
                  <a:gd name="connsiteY4" fmla="*/ 801927 h 2282384"/>
                  <a:gd name="connsiteX5" fmla="*/ 3291114 w 6527800"/>
                  <a:gd name="connsiteY5" fmla="*/ 1846956 h 2282384"/>
                  <a:gd name="connsiteX6" fmla="*/ 3755571 w 6527800"/>
                  <a:gd name="connsiteY6" fmla="*/ 1273641 h 2282384"/>
                  <a:gd name="connsiteX7" fmla="*/ 4071257 w 6527800"/>
                  <a:gd name="connsiteY7" fmla="*/ 1763499 h 2282384"/>
                  <a:gd name="connsiteX8" fmla="*/ 4466771 w 6527800"/>
                  <a:gd name="connsiteY8" fmla="*/ 399156 h 2282384"/>
                  <a:gd name="connsiteX9" fmla="*/ 4858657 w 6527800"/>
                  <a:gd name="connsiteY9" fmla="*/ 1357099 h 2282384"/>
                  <a:gd name="connsiteX10" fmla="*/ 5148943 w 6527800"/>
                  <a:gd name="connsiteY10" fmla="*/ 747499 h 2282384"/>
                  <a:gd name="connsiteX11" fmla="*/ 5588000 w 6527800"/>
                  <a:gd name="connsiteY11" fmla="*/ 1886870 h 2282384"/>
                  <a:gd name="connsiteX12" fmla="*/ 6074228 w 6527800"/>
                  <a:gd name="connsiteY12" fmla="*/ 928927 h 2282384"/>
                  <a:gd name="connsiteX13" fmla="*/ 6527800 w 6527800"/>
                  <a:gd name="connsiteY13" fmla="*/ 2282384 h 2282384"/>
                  <a:gd name="connsiteX0" fmla="*/ 0 w 5762172"/>
                  <a:gd name="connsiteY0" fmla="*/ 1865099 h 2282384"/>
                  <a:gd name="connsiteX1" fmla="*/ 765629 w 5762172"/>
                  <a:gd name="connsiteY1" fmla="*/ 13 h 2282384"/>
                  <a:gd name="connsiteX2" fmla="*/ 1375229 w 5762172"/>
                  <a:gd name="connsiteY2" fmla="*/ 1897756 h 2282384"/>
                  <a:gd name="connsiteX3" fmla="*/ 2039258 w 5762172"/>
                  <a:gd name="connsiteY3" fmla="*/ 801927 h 2282384"/>
                  <a:gd name="connsiteX4" fmla="*/ 2525486 w 5762172"/>
                  <a:gd name="connsiteY4" fmla="*/ 1846956 h 2282384"/>
                  <a:gd name="connsiteX5" fmla="*/ 2989943 w 5762172"/>
                  <a:gd name="connsiteY5" fmla="*/ 1273641 h 2282384"/>
                  <a:gd name="connsiteX6" fmla="*/ 3305629 w 5762172"/>
                  <a:gd name="connsiteY6" fmla="*/ 1763499 h 2282384"/>
                  <a:gd name="connsiteX7" fmla="*/ 3701143 w 5762172"/>
                  <a:gd name="connsiteY7" fmla="*/ 399156 h 2282384"/>
                  <a:gd name="connsiteX8" fmla="*/ 4093029 w 5762172"/>
                  <a:gd name="connsiteY8" fmla="*/ 1357099 h 2282384"/>
                  <a:gd name="connsiteX9" fmla="*/ 4383315 w 5762172"/>
                  <a:gd name="connsiteY9" fmla="*/ 747499 h 2282384"/>
                  <a:gd name="connsiteX10" fmla="*/ 4822372 w 5762172"/>
                  <a:gd name="connsiteY10" fmla="*/ 1886870 h 2282384"/>
                  <a:gd name="connsiteX11" fmla="*/ 5308600 w 5762172"/>
                  <a:gd name="connsiteY11" fmla="*/ 928927 h 2282384"/>
                  <a:gd name="connsiteX12" fmla="*/ 5762172 w 5762172"/>
                  <a:gd name="connsiteY12" fmla="*/ 2282384 h 2282384"/>
                  <a:gd name="connsiteX0" fmla="*/ 0 w 4996543"/>
                  <a:gd name="connsiteY0" fmla="*/ 1 h 2282372"/>
                  <a:gd name="connsiteX1" fmla="*/ 609600 w 4996543"/>
                  <a:gd name="connsiteY1" fmla="*/ 1897744 h 2282372"/>
                  <a:gd name="connsiteX2" fmla="*/ 1273629 w 4996543"/>
                  <a:gd name="connsiteY2" fmla="*/ 801915 h 2282372"/>
                  <a:gd name="connsiteX3" fmla="*/ 1759857 w 4996543"/>
                  <a:gd name="connsiteY3" fmla="*/ 1846944 h 2282372"/>
                  <a:gd name="connsiteX4" fmla="*/ 2224314 w 4996543"/>
                  <a:gd name="connsiteY4" fmla="*/ 1273629 h 2282372"/>
                  <a:gd name="connsiteX5" fmla="*/ 2540000 w 4996543"/>
                  <a:gd name="connsiteY5" fmla="*/ 1763487 h 2282372"/>
                  <a:gd name="connsiteX6" fmla="*/ 2935514 w 4996543"/>
                  <a:gd name="connsiteY6" fmla="*/ 399144 h 2282372"/>
                  <a:gd name="connsiteX7" fmla="*/ 3327400 w 4996543"/>
                  <a:gd name="connsiteY7" fmla="*/ 1357087 h 2282372"/>
                  <a:gd name="connsiteX8" fmla="*/ 3617686 w 4996543"/>
                  <a:gd name="connsiteY8" fmla="*/ 747487 h 2282372"/>
                  <a:gd name="connsiteX9" fmla="*/ 4056743 w 4996543"/>
                  <a:gd name="connsiteY9" fmla="*/ 1886858 h 2282372"/>
                  <a:gd name="connsiteX10" fmla="*/ 4542971 w 4996543"/>
                  <a:gd name="connsiteY10" fmla="*/ 928915 h 2282372"/>
                  <a:gd name="connsiteX11" fmla="*/ 4996543 w 4996543"/>
                  <a:gd name="connsiteY11" fmla="*/ 2282372 h 2282372"/>
                  <a:gd name="connsiteX0" fmla="*/ 0 w 4386943"/>
                  <a:gd name="connsiteY0" fmla="*/ 1501996 h 1886624"/>
                  <a:gd name="connsiteX1" fmla="*/ 664029 w 4386943"/>
                  <a:gd name="connsiteY1" fmla="*/ 406167 h 1886624"/>
                  <a:gd name="connsiteX2" fmla="*/ 1150257 w 4386943"/>
                  <a:gd name="connsiteY2" fmla="*/ 1451196 h 1886624"/>
                  <a:gd name="connsiteX3" fmla="*/ 1614714 w 4386943"/>
                  <a:gd name="connsiteY3" fmla="*/ 877881 h 1886624"/>
                  <a:gd name="connsiteX4" fmla="*/ 1930400 w 4386943"/>
                  <a:gd name="connsiteY4" fmla="*/ 1367739 h 1886624"/>
                  <a:gd name="connsiteX5" fmla="*/ 2325914 w 4386943"/>
                  <a:gd name="connsiteY5" fmla="*/ 3396 h 1886624"/>
                  <a:gd name="connsiteX6" fmla="*/ 2717800 w 4386943"/>
                  <a:gd name="connsiteY6" fmla="*/ 961339 h 1886624"/>
                  <a:gd name="connsiteX7" fmla="*/ 3008086 w 4386943"/>
                  <a:gd name="connsiteY7" fmla="*/ 351739 h 1886624"/>
                  <a:gd name="connsiteX8" fmla="*/ 3447143 w 4386943"/>
                  <a:gd name="connsiteY8" fmla="*/ 1491110 h 1886624"/>
                  <a:gd name="connsiteX9" fmla="*/ 3933371 w 4386943"/>
                  <a:gd name="connsiteY9" fmla="*/ 533167 h 1886624"/>
                  <a:gd name="connsiteX10" fmla="*/ 4386943 w 4386943"/>
                  <a:gd name="connsiteY10" fmla="*/ 1886624 h 1886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86943" h="1886624">
                    <a:moveTo>
                      <a:pt x="0" y="1501996"/>
                    </a:moveTo>
                    <a:cubicBezTo>
                      <a:pt x="212272" y="1635648"/>
                      <a:pt x="472320" y="414634"/>
                      <a:pt x="664029" y="406167"/>
                    </a:cubicBezTo>
                    <a:cubicBezTo>
                      <a:pt x="855738" y="397700"/>
                      <a:pt x="991810" y="1372577"/>
                      <a:pt x="1150257" y="1451196"/>
                    </a:cubicBezTo>
                    <a:cubicBezTo>
                      <a:pt x="1308704" y="1529815"/>
                      <a:pt x="1484690" y="891790"/>
                      <a:pt x="1614714" y="877881"/>
                    </a:cubicBezTo>
                    <a:cubicBezTo>
                      <a:pt x="1744738" y="863972"/>
                      <a:pt x="1811867" y="1513487"/>
                      <a:pt x="1930400" y="1367739"/>
                    </a:cubicBezTo>
                    <a:cubicBezTo>
                      <a:pt x="2048933" y="1221992"/>
                      <a:pt x="2194681" y="71129"/>
                      <a:pt x="2325914" y="3396"/>
                    </a:cubicBezTo>
                    <a:cubicBezTo>
                      <a:pt x="2457147" y="-64337"/>
                      <a:pt x="2604105" y="903282"/>
                      <a:pt x="2717800" y="961339"/>
                    </a:cubicBezTo>
                    <a:cubicBezTo>
                      <a:pt x="2831495" y="1019396"/>
                      <a:pt x="2886529" y="263444"/>
                      <a:pt x="3008086" y="351739"/>
                    </a:cubicBezTo>
                    <a:cubicBezTo>
                      <a:pt x="3129643" y="440034"/>
                      <a:pt x="3292929" y="1460872"/>
                      <a:pt x="3447143" y="1491110"/>
                    </a:cubicBezTo>
                    <a:cubicBezTo>
                      <a:pt x="3601357" y="1521348"/>
                      <a:pt x="3776738" y="467248"/>
                      <a:pt x="3933371" y="533167"/>
                    </a:cubicBezTo>
                    <a:cubicBezTo>
                      <a:pt x="4090004" y="599086"/>
                      <a:pt x="4238473" y="1242855"/>
                      <a:pt x="4386943" y="1886624"/>
                    </a:cubicBezTo>
                  </a:path>
                </a:pathLst>
              </a:custGeom>
              <a:noFill/>
              <a:ln>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grpSp>
          <p:nvGrpSpPr>
            <p:cNvPr id="154" name="Group 153"/>
            <p:cNvGrpSpPr/>
            <p:nvPr/>
          </p:nvGrpSpPr>
          <p:grpSpPr>
            <a:xfrm rot="5400000">
              <a:off x="-972652" y="3077916"/>
              <a:ext cx="2967991" cy="1448820"/>
              <a:chOff x="2772230" y="5087490"/>
              <a:chExt cx="3820215" cy="2408427"/>
            </a:xfrm>
          </p:grpSpPr>
          <p:sp>
            <p:nvSpPr>
              <p:cNvPr id="155" name="Freeform: Shape 154"/>
              <p:cNvSpPr/>
              <p:nvPr/>
            </p:nvSpPr>
            <p:spPr>
              <a:xfrm>
                <a:off x="2772230" y="5087490"/>
                <a:ext cx="3820215" cy="2291400"/>
              </a:xfrm>
              <a:custGeom>
                <a:avLst/>
                <a:gdLst>
                  <a:gd name="connsiteX0" fmla="*/ 0 w 6527800"/>
                  <a:gd name="connsiteY0" fmla="*/ 1190184 h 2282384"/>
                  <a:gd name="connsiteX1" fmla="*/ 765628 w 6527800"/>
                  <a:gd name="connsiteY1" fmla="*/ 1865099 h 2282384"/>
                  <a:gd name="connsiteX2" fmla="*/ 1531257 w 6527800"/>
                  <a:gd name="connsiteY2" fmla="*/ 13 h 2282384"/>
                  <a:gd name="connsiteX3" fmla="*/ 2140857 w 6527800"/>
                  <a:gd name="connsiteY3" fmla="*/ 1897756 h 2282384"/>
                  <a:gd name="connsiteX4" fmla="*/ 2804886 w 6527800"/>
                  <a:gd name="connsiteY4" fmla="*/ 801927 h 2282384"/>
                  <a:gd name="connsiteX5" fmla="*/ 3291114 w 6527800"/>
                  <a:gd name="connsiteY5" fmla="*/ 1846956 h 2282384"/>
                  <a:gd name="connsiteX6" fmla="*/ 3755571 w 6527800"/>
                  <a:gd name="connsiteY6" fmla="*/ 1273641 h 2282384"/>
                  <a:gd name="connsiteX7" fmla="*/ 4071257 w 6527800"/>
                  <a:gd name="connsiteY7" fmla="*/ 1763499 h 2282384"/>
                  <a:gd name="connsiteX8" fmla="*/ 4466771 w 6527800"/>
                  <a:gd name="connsiteY8" fmla="*/ 399156 h 2282384"/>
                  <a:gd name="connsiteX9" fmla="*/ 4858657 w 6527800"/>
                  <a:gd name="connsiteY9" fmla="*/ 1357099 h 2282384"/>
                  <a:gd name="connsiteX10" fmla="*/ 5148943 w 6527800"/>
                  <a:gd name="connsiteY10" fmla="*/ 747499 h 2282384"/>
                  <a:gd name="connsiteX11" fmla="*/ 5588000 w 6527800"/>
                  <a:gd name="connsiteY11" fmla="*/ 1886870 h 2282384"/>
                  <a:gd name="connsiteX12" fmla="*/ 6074228 w 6527800"/>
                  <a:gd name="connsiteY12" fmla="*/ 928927 h 2282384"/>
                  <a:gd name="connsiteX13" fmla="*/ 6527800 w 6527800"/>
                  <a:gd name="connsiteY13" fmla="*/ 2282384 h 2282384"/>
                  <a:gd name="connsiteX0" fmla="*/ 0 w 6625100"/>
                  <a:gd name="connsiteY0" fmla="*/ 1190184 h 2687163"/>
                  <a:gd name="connsiteX1" fmla="*/ 765628 w 6625100"/>
                  <a:gd name="connsiteY1" fmla="*/ 1865099 h 2687163"/>
                  <a:gd name="connsiteX2" fmla="*/ 1531257 w 6625100"/>
                  <a:gd name="connsiteY2" fmla="*/ 13 h 2687163"/>
                  <a:gd name="connsiteX3" fmla="*/ 2140857 w 6625100"/>
                  <a:gd name="connsiteY3" fmla="*/ 1897756 h 2687163"/>
                  <a:gd name="connsiteX4" fmla="*/ 2804886 w 6625100"/>
                  <a:gd name="connsiteY4" fmla="*/ 801927 h 2687163"/>
                  <a:gd name="connsiteX5" fmla="*/ 3291114 w 6625100"/>
                  <a:gd name="connsiteY5" fmla="*/ 1846956 h 2687163"/>
                  <a:gd name="connsiteX6" fmla="*/ 3755571 w 6625100"/>
                  <a:gd name="connsiteY6" fmla="*/ 1273641 h 2687163"/>
                  <a:gd name="connsiteX7" fmla="*/ 4071257 w 6625100"/>
                  <a:gd name="connsiteY7" fmla="*/ 1763499 h 2687163"/>
                  <a:gd name="connsiteX8" fmla="*/ 4466771 w 6625100"/>
                  <a:gd name="connsiteY8" fmla="*/ 399156 h 2687163"/>
                  <a:gd name="connsiteX9" fmla="*/ 4858657 w 6625100"/>
                  <a:gd name="connsiteY9" fmla="*/ 1357099 h 2687163"/>
                  <a:gd name="connsiteX10" fmla="*/ 5148943 w 6625100"/>
                  <a:gd name="connsiteY10" fmla="*/ 747499 h 2687163"/>
                  <a:gd name="connsiteX11" fmla="*/ 5588000 w 6625100"/>
                  <a:gd name="connsiteY11" fmla="*/ 1886870 h 2687163"/>
                  <a:gd name="connsiteX12" fmla="*/ 6074228 w 6625100"/>
                  <a:gd name="connsiteY12" fmla="*/ 928927 h 2687163"/>
                  <a:gd name="connsiteX13" fmla="*/ 6625100 w 6625100"/>
                  <a:gd name="connsiteY13" fmla="*/ 2687163 h 2687163"/>
                  <a:gd name="connsiteX0" fmla="*/ 0 w 5859472"/>
                  <a:gd name="connsiteY0" fmla="*/ 1865099 h 2687163"/>
                  <a:gd name="connsiteX1" fmla="*/ 765629 w 5859472"/>
                  <a:gd name="connsiteY1" fmla="*/ 13 h 2687163"/>
                  <a:gd name="connsiteX2" fmla="*/ 1375229 w 5859472"/>
                  <a:gd name="connsiteY2" fmla="*/ 1897756 h 2687163"/>
                  <a:gd name="connsiteX3" fmla="*/ 2039258 w 5859472"/>
                  <a:gd name="connsiteY3" fmla="*/ 801927 h 2687163"/>
                  <a:gd name="connsiteX4" fmla="*/ 2525486 w 5859472"/>
                  <a:gd name="connsiteY4" fmla="*/ 1846956 h 2687163"/>
                  <a:gd name="connsiteX5" fmla="*/ 2989943 w 5859472"/>
                  <a:gd name="connsiteY5" fmla="*/ 1273641 h 2687163"/>
                  <a:gd name="connsiteX6" fmla="*/ 3305629 w 5859472"/>
                  <a:gd name="connsiteY6" fmla="*/ 1763499 h 2687163"/>
                  <a:gd name="connsiteX7" fmla="*/ 3701143 w 5859472"/>
                  <a:gd name="connsiteY7" fmla="*/ 399156 h 2687163"/>
                  <a:gd name="connsiteX8" fmla="*/ 4093029 w 5859472"/>
                  <a:gd name="connsiteY8" fmla="*/ 1357099 h 2687163"/>
                  <a:gd name="connsiteX9" fmla="*/ 4383315 w 5859472"/>
                  <a:gd name="connsiteY9" fmla="*/ 747499 h 2687163"/>
                  <a:gd name="connsiteX10" fmla="*/ 4822372 w 5859472"/>
                  <a:gd name="connsiteY10" fmla="*/ 1886870 h 2687163"/>
                  <a:gd name="connsiteX11" fmla="*/ 5308600 w 5859472"/>
                  <a:gd name="connsiteY11" fmla="*/ 928927 h 2687163"/>
                  <a:gd name="connsiteX12" fmla="*/ 5859472 w 5859472"/>
                  <a:gd name="connsiteY12" fmla="*/ 2687163 h 2687163"/>
                  <a:gd name="connsiteX0" fmla="*/ -1 w 5093842"/>
                  <a:gd name="connsiteY0" fmla="*/ 0 h 2687150"/>
                  <a:gd name="connsiteX1" fmla="*/ 609599 w 5093842"/>
                  <a:gd name="connsiteY1" fmla="*/ 1897743 h 2687150"/>
                  <a:gd name="connsiteX2" fmla="*/ 1273628 w 5093842"/>
                  <a:gd name="connsiteY2" fmla="*/ 801914 h 2687150"/>
                  <a:gd name="connsiteX3" fmla="*/ 1759856 w 5093842"/>
                  <a:gd name="connsiteY3" fmla="*/ 1846943 h 2687150"/>
                  <a:gd name="connsiteX4" fmla="*/ 2224313 w 5093842"/>
                  <a:gd name="connsiteY4" fmla="*/ 1273628 h 2687150"/>
                  <a:gd name="connsiteX5" fmla="*/ 2539999 w 5093842"/>
                  <a:gd name="connsiteY5" fmla="*/ 1763486 h 2687150"/>
                  <a:gd name="connsiteX6" fmla="*/ 2935513 w 5093842"/>
                  <a:gd name="connsiteY6" fmla="*/ 399143 h 2687150"/>
                  <a:gd name="connsiteX7" fmla="*/ 3327399 w 5093842"/>
                  <a:gd name="connsiteY7" fmla="*/ 1357086 h 2687150"/>
                  <a:gd name="connsiteX8" fmla="*/ 3617685 w 5093842"/>
                  <a:gd name="connsiteY8" fmla="*/ 747486 h 2687150"/>
                  <a:gd name="connsiteX9" fmla="*/ 4056742 w 5093842"/>
                  <a:gd name="connsiteY9" fmla="*/ 1886857 h 2687150"/>
                  <a:gd name="connsiteX10" fmla="*/ 4542970 w 5093842"/>
                  <a:gd name="connsiteY10" fmla="*/ 928914 h 2687150"/>
                  <a:gd name="connsiteX11" fmla="*/ 5093842 w 5093842"/>
                  <a:gd name="connsiteY11" fmla="*/ 2687150 h 2687150"/>
                  <a:gd name="connsiteX0" fmla="*/ 0 w 4484243"/>
                  <a:gd name="connsiteY0" fmla="*/ 1501996 h 2291403"/>
                  <a:gd name="connsiteX1" fmla="*/ 664029 w 4484243"/>
                  <a:gd name="connsiteY1" fmla="*/ 406167 h 2291403"/>
                  <a:gd name="connsiteX2" fmla="*/ 1150257 w 4484243"/>
                  <a:gd name="connsiteY2" fmla="*/ 1451196 h 2291403"/>
                  <a:gd name="connsiteX3" fmla="*/ 1614714 w 4484243"/>
                  <a:gd name="connsiteY3" fmla="*/ 877881 h 2291403"/>
                  <a:gd name="connsiteX4" fmla="*/ 1930400 w 4484243"/>
                  <a:gd name="connsiteY4" fmla="*/ 1367739 h 2291403"/>
                  <a:gd name="connsiteX5" fmla="*/ 2325914 w 4484243"/>
                  <a:gd name="connsiteY5" fmla="*/ 3396 h 2291403"/>
                  <a:gd name="connsiteX6" fmla="*/ 2717800 w 4484243"/>
                  <a:gd name="connsiteY6" fmla="*/ 961339 h 2291403"/>
                  <a:gd name="connsiteX7" fmla="*/ 3008086 w 4484243"/>
                  <a:gd name="connsiteY7" fmla="*/ 351739 h 2291403"/>
                  <a:gd name="connsiteX8" fmla="*/ 3447143 w 4484243"/>
                  <a:gd name="connsiteY8" fmla="*/ 1491110 h 2291403"/>
                  <a:gd name="connsiteX9" fmla="*/ 3933371 w 4484243"/>
                  <a:gd name="connsiteY9" fmla="*/ 533167 h 2291403"/>
                  <a:gd name="connsiteX10" fmla="*/ 4484243 w 4484243"/>
                  <a:gd name="connsiteY10" fmla="*/ 2291403 h 2291403"/>
                  <a:gd name="connsiteX0" fmla="*/ 0 w 3820214"/>
                  <a:gd name="connsiteY0" fmla="*/ 406165 h 2291401"/>
                  <a:gd name="connsiteX1" fmla="*/ 486228 w 3820214"/>
                  <a:gd name="connsiteY1" fmla="*/ 1451194 h 2291401"/>
                  <a:gd name="connsiteX2" fmla="*/ 950685 w 3820214"/>
                  <a:gd name="connsiteY2" fmla="*/ 877879 h 2291401"/>
                  <a:gd name="connsiteX3" fmla="*/ 1266371 w 3820214"/>
                  <a:gd name="connsiteY3" fmla="*/ 1367737 h 2291401"/>
                  <a:gd name="connsiteX4" fmla="*/ 1661885 w 3820214"/>
                  <a:gd name="connsiteY4" fmla="*/ 3394 h 2291401"/>
                  <a:gd name="connsiteX5" fmla="*/ 2053771 w 3820214"/>
                  <a:gd name="connsiteY5" fmla="*/ 961337 h 2291401"/>
                  <a:gd name="connsiteX6" fmla="*/ 2344057 w 3820214"/>
                  <a:gd name="connsiteY6" fmla="*/ 351737 h 2291401"/>
                  <a:gd name="connsiteX7" fmla="*/ 2783114 w 3820214"/>
                  <a:gd name="connsiteY7" fmla="*/ 1491108 h 2291401"/>
                  <a:gd name="connsiteX8" fmla="*/ 3269342 w 3820214"/>
                  <a:gd name="connsiteY8" fmla="*/ 533165 h 2291401"/>
                  <a:gd name="connsiteX9" fmla="*/ 3820214 w 3820214"/>
                  <a:gd name="connsiteY9" fmla="*/ 2291401 h 2291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20214" h="2291401">
                    <a:moveTo>
                      <a:pt x="0" y="406165"/>
                    </a:moveTo>
                    <a:cubicBezTo>
                      <a:pt x="191709" y="397698"/>
                      <a:pt x="327781" y="1372575"/>
                      <a:pt x="486228" y="1451194"/>
                    </a:cubicBezTo>
                    <a:cubicBezTo>
                      <a:pt x="644675" y="1529813"/>
                      <a:pt x="820661" y="891788"/>
                      <a:pt x="950685" y="877879"/>
                    </a:cubicBezTo>
                    <a:cubicBezTo>
                      <a:pt x="1080709" y="863970"/>
                      <a:pt x="1147838" y="1513485"/>
                      <a:pt x="1266371" y="1367737"/>
                    </a:cubicBezTo>
                    <a:cubicBezTo>
                      <a:pt x="1384904" y="1221990"/>
                      <a:pt x="1530652" y="71127"/>
                      <a:pt x="1661885" y="3394"/>
                    </a:cubicBezTo>
                    <a:cubicBezTo>
                      <a:pt x="1793118" y="-64339"/>
                      <a:pt x="1940076" y="903280"/>
                      <a:pt x="2053771" y="961337"/>
                    </a:cubicBezTo>
                    <a:cubicBezTo>
                      <a:pt x="2167466" y="1019394"/>
                      <a:pt x="2222500" y="263442"/>
                      <a:pt x="2344057" y="351737"/>
                    </a:cubicBezTo>
                    <a:cubicBezTo>
                      <a:pt x="2465614" y="440032"/>
                      <a:pt x="2628900" y="1460870"/>
                      <a:pt x="2783114" y="1491108"/>
                    </a:cubicBezTo>
                    <a:cubicBezTo>
                      <a:pt x="2937328" y="1521346"/>
                      <a:pt x="3096492" y="399783"/>
                      <a:pt x="3269342" y="533165"/>
                    </a:cubicBezTo>
                    <a:cubicBezTo>
                      <a:pt x="3442192" y="666547"/>
                      <a:pt x="3671744" y="1647632"/>
                      <a:pt x="3820214" y="2291401"/>
                    </a:cubicBezTo>
                  </a:path>
                </a:pathLst>
              </a:custGeom>
              <a:noFill/>
              <a:ln>
                <a:solidFill>
                  <a:schemeClr val="bg1">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56" name="Freeform: Shape 155"/>
              <p:cNvSpPr/>
              <p:nvPr/>
            </p:nvSpPr>
            <p:spPr>
              <a:xfrm>
                <a:off x="2772230" y="5531340"/>
                <a:ext cx="3781294" cy="1864309"/>
              </a:xfrm>
              <a:custGeom>
                <a:avLst/>
                <a:gdLst>
                  <a:gd name="connsiteX0" fmla="*/ 0 w 6527800"/>
                  <a:gd name="connsiteY0" fmla="*/ 1190184 h 2282384"/>
                  <a:gd name="connsiteX1" fmla="*/ 765628 w 6527800"/>
                  <a:gd name="connsiteY1" fmla="*/ 1865099 h 2282384"/>
                  <a:gd name="connsiteX2" fmla="*/ 1531257 w 6527800"/>
                  <a:gd name="connsiteY2" fmla="*/ 13 h 2282384"/>
                  <a:gd name="connsiteX3" fmla="*/ 2140857 w 6527800"/>
                  <a:gd name="connsiteY3" fmla="*/ 1897756 h 2282384"/>
                  <a:gd name="connsiteX4" fmla="*/ 2804886 w 6527800"/>
                  <a:gd name="connsiteY4" fmla="*/ 801927 h 2282384"/>
                  <a:gd name="connsiteX5" fmla="*/ 3291114 w 6527800"/>
                  <a:gd name="connsiteY5" fmla="*/ 1846956 h 2282384"/>
                  <a:gd name="connsiteX6" fmla="*/ 3755571 w 6527800"/>
                  <a:gd name="connsiteY6" fmla="*/ 1273641 h 2282384"/>
                  <a:gd name="connsiteX7" fmla="*/ 4071257 w 6527800"/>
                  <a:gd name="connsiteY7" fmla="*/ 1763499 h 2282384"/>
                  <a:gd name="connsiteX8" fmla="*/ 4466771 w 6527800"/>
                  <a:gd name="connsiteY8" fmla="*/ 399156 h 2282384"/>
                  <a:gd name="connsiteX9" fmla="*/ 4858657 w 6527800"/>
                  <a:gd name="connsiteY9" fmla="*/ 1357099 h 2282384"/>
                  <a:gd name="connsiteX10" fmla="*/ 5148943 w 6527800"/>
                  <a:gd name="connsiteY10" fmla="*/ 747499 h 2282384"/>
                  <a:gd name="connsiteX11" fmla="*/ 5588000 w 6527800"/>
                  <a:gd name="connsiteY11" fmla="*/ 1886870 h 2282384"/>
                  <a:gd name="connsiteX12" fmla="*/ 6074228 w 6527800"/>
                  <a:gd name="connsiteY12" fmla="*/ 928927 h 2282384"/>
                  <a:gd name="connsiteX13" fmla="*/ 6527800 w 6527800"/>
                  <a:gd name="connsiteY13" fmla="*/ 2282384 h 2282384"/>
                  <a:gd name="connsiteX0" fmla="*/ 0 w 6586180"/>
                  <a:gd name="connsiteY0" fmla="*/ 1190184 h 2518602"/>
                  <a:gd name="connsiteX1" fmla="*/ 765628 w 6586180"/>
                  <a:gd name="connsiteY1" fmla="*/ 1865099 h 2518602"/>
                  <a:gd name="connsiteX2" fmla="*/ 1531257 w 6586180"/>
                  <a:gd name="connsiteY2" fmla="*/ 13 h 2518602"/>
                  <a:gd name="connsiteX3" fmla="*/ 2140857 w 6586180"/>
                  <a:gd name="connsiteY3" fmla="*/ 1897756 h 2518602"/>
                  <a:gd name="connsiteX4" fmla="*/ 2804886 w 6586180"/>
                  <a:gd name="connsiteY4" fmla="*/ 801927 h 2518602"/>
                  <a:gd name="connsiteX5" fmla="*/ 3291114 w 6586180"/>
                  <a:gd name="connsiteY5" fmla="*/ 1846956 h 2518602"/>
                  <a:gd name="connsiteX6" fmla="*/ 3755571 w 6586180"/>
                  <a:gd name="connsiteY6" fmla="*/ 1273641 h 2518602"/>
                  <a:gd name="connsiteX7" fmla="*/ 4071257 w 6586180"/>
                  <a:gd name="connsiteY7" fmla="*/ 1763499 h 2518602"/>
                  <a:gd name="connsiteX8" fmla="*/ 4466771 w 6586180"/>
                  <a:gd name="connsiteY8" fmla="*/ 399156 h 2518602"/>
                  <a:gd name="connsiteX9" fmla="*/ 4858657 w 6586180"/>
                  <a:gd name="connsiteY9" fmla="*/ 1357099 h 2518602"/>
                  <a:gd name="connsiteX10" fmla="*/ 5148943 w 6586180"/>
                  <a:gd name="connsiteY10" fmla="*/ 747499 h 2518602"/>
                  <a:gd name="connsiteX11" fmla="*/ 5588000 w 6586180"/>
                  <a:gd name="connsiteY11" fmla="*/ 1886870 h 2518602"/>
                  <a:gd name="connsiteX12" fmla="*/ 6074228 w 6586180"/>
                  <a:gd name="connsiteY12" fmla="*/ 928927 h 2518602"/>
                  <a:gd name="connsiteX13" fmla="*/ 6586180 w 6586180"/>
                  <a:gd name="connsiteY13" fmla="*/ 2518602 h 2518602"/>
                  <a:gd name="connsiteX0" fmla="*/ 0 w 6586180"/>
                  <a:gd name="connsiteY0" fmla="*/ 794423 h 2122841"/>
                  <a:gd name="connsiteX1" fmla="*/ 765628 w 6586180"/>
                  <a:gd name="connsiteY1" fmla="*/ 1469338 h 2122841"/>
                  <a:gd name="connsiteX2" fmla="*/ 2140857 w 6586180"/>
                  <a:gd name="connsiteY2" fmla="*/ 1501995 h 2122841"/>
                  <a:gd name="connsiteX3" fmla="*/ 2804886 w 6586180"/>
                  <a:gd name="connsiteY3" fmla="*/ 406166 h 2122841"/>
                  <a:gd name="connsiteX4" fmla="*/ 3291114 w 6586180"/>
                  <a:gd name="connsiteY4" fmla="*/ 1451195 h 2122841"/>
                  <a:gd name="connsiteX5" fmla="*/ 3755571 w 6586180"/>
                  <a:gd name="connsiteY5" fmla="*/ 877880 h 2122841"/>
                  <a:gd name="connsiteX6" fmla="*/ 4071257 w 6586180"/>
                  <a:gd name="connsiteY6" fmla="*/ 1367738 h 2122841"/>
                  <a:gd name="connsiteX7" fmla="*/ 4466771 w 6586180"/>
                  <a:gd name="connsiteY7" fmla="*/ 3395 h 2122841"/>
                  <a:gd name="connsiteX8" fmla="*/ 4858657 w 6586180"/>
                  <a:gd name="connsiteY8" fmla="*/ 961338 h 2122841"/>
                  <a:gd name="connsiteX9" fmla="*/ 5148943 w 6586180"/>
                  <a:gd name="connsiteY9" fmla="*/ 351738 h 2122841"/>
                  <a:gd name="connsiteX10" fmla="*/ 5588000 w 6586180"/>
                  <a:gd name="connsiteY10" fmla="*/ 1491109 h 2122841"/>
                  <a:gd name="connsiteX11" fmla="*/ 6074228 w 6586180"/>
                  <a:gd name="connsiteY11" fmla="*/ 533166 h 2122841"/>
                  <a:gd name="connsiteX12" fmla="*/ 6586180 w 6586180"/>
                  <a:gd name="connsiteY12" fmla="*/ 2122841 h 2122841"/>
                  <a:gd name="connsiteX0" fmla="*/ 0 w 6586180"/>
                  <a:gd name="connsiteY0" fmla="*/ 794423 h 2122841"/>
                  <a:gd name="connsiteX1" fmla="*/ 2140857 w 6586180"/>
                  <a:gd name="connsiteY1" fmla="*/ 1501995 h 2122841"/>
                  <a:gd name="connsiteX2" fmla="*/ 2804886 w 6586180"/>
                  <a:gd name="connsiteY2" fmla="*/ 406166 h 2122841"/>
                  <a:gd name="connsiteX3" fmla="*/ 3291114 w 6586180"/>
                  <a:gd name="connsiteY3" fmla="*/ 1451195 h 2122841"/>
                  <a:gd name="connsiteX4" fmla="*/ 3755571 w 6586180"/>
                  <a:gd name="connsiteY4" fmla="*/ 877880 h 2122841"/>
                  <a:gd name="connsiteX5" fmla="*/ 4071257 w 6586180"/>
                  <a:gd name="connsiteY5" fmla="*/ 1367738 h 2122841"/>
                  <a:gd name="connsiteX6" fmla="*/ 4466771 w 6586180"/>
                  <a:gd name="connsiteY6" fmla="*/ 3395 h 2122841"/>
                  <a:gd name="connsiteX7" fmla="*/ 4858657 w 6586180"/>
                  <a:gd name="connsiteY7" fmla="*/ 961338 h 2122841"/>
                  <a:gd name="connsiteX8" fmla="*/ 5148943 w 6586180"/>
                  <a:gd name="connsiteY8" fmla="*/ 351738 h 2122841"/>
                  <a:gd name="connsiteX9" fmla="*/ 5588000 w 6586180"/>
                  <a:gd name="connsiteY9" fmla="*/ 1491109 h 2122841"/>
                  <a:gd name="connsiteX10" fmla="*/ 6074228 w 6586180"/>
                  <a:gd name="connsiteY10" fmla="*/ 533166 h 2122841"/>
                  <a:gd name="connsiteX11" fmla="*/ 6586180 w 6586180"/>
                  <a:gd name="connsiteY11" fmla="*/ 2122841 h 2122841"/>
                  <a:gd name="connsiteX0" fmla="*/ 0 w 4445323"/>
                  <a:gd name="connsiteY0" fmla="*/ 1501995 h 2122841"/>
                  <a:gd name="connsiteX1" fmla="*/ 664029 w 4445323"/>
                  <a:gd name="connsiteY1" fmla="*/ 406166 h 2122841"/>
                  <a:gd name="connsiteX2" fmla="*/ 1150257 w 4445323"/>
                  <a:gd name="connsiteY2" fmla="*/ 1451195 h 2122841"/>
                  <a:gd name="connsiteX3" fmla="*/ 1614714 w 4445323"/>
                  <a:gd name="connsiteY3" fmla="*/ 877880 h 2122841"/>
                  <a:gd name="connsiteX4" fmla="*/ 1930400 w 4445323"/>
                  <a:gd name="connsiteY4" fmla="*/ 1367738 h 2122841"/>
                  <a:gd name="connsiteX5" fmla="*/ 2325914 w 4445323"/>
                  <a:gd name="connsiteY5" fmla="*/ 3395 h 2122841"/>
                  <a:gd name="connsiteX6" fmla="*/ 2717800 w 4445323"/>
                  <a:gd name="connsiteY6" fmla="*/ 961338 h 2122841"/>
                  <a:gd name="connsiteX7" fmla="*/ 3008086 w 4445323"/>
                  <a:gd name="connsiteY7" fmla="*/ 351738 h 2122841"/>
                  <a:gd name="connsiteX8" fmla="*/ 3447143 w 4445323"/>
                  <a:gd name="connsiteY8" fmla="*/ 1491109 h 2122841"/>
                  <a:gd name="connsiteX9" fmla="*/ 3933371 w 4445323"/>
                  <a:gd name="connsiteY9" fmla="*/ 533166 h 2122841"/>
                  <a:gd name="connsiteX10" fmla="*/ 4445323 w 4445323"/>
                  <a:gd name="connsiteY10" fmla="*/ 2122841 h 2122841"/>
                  <a:gd name="connsiteX0" fmla="*/ 0 w 3781294"/>
                  <a:gd name="connsiteY0" fmla="*/ 406166 h 2122841"/>
                  <a:gd name="connsiteX1" fmla="*/ 486228 w 3781294"/>
                  <a:gd name="connsiteY1" fmla="*/ 1451195 h 2122841"/>
                  <a:gd name="connsiteX2" fmla="*/ 950685 w 3781294"/>
                  <a:gd name="connsiteY2" fmla="*/ 877880 h 2122841"/>
                  <a:gd name="connsiteX3" fmla="*/ 1266371 w 3781294"/>
                  <a:gd name="connsiteY3" fmla="*/ 1367738 h 2122841"/>
                  <a:gd name="connsiteX4" fmla="*/ 1661885 w 3781294"/>
                  <a:gd name="connsiteY4" fmla="*/ 3395 h 2122841"/>
                  <a:gd name="connsiteX5" fmla="*/ 2053771 w 3781294"/>
                  <a:gd name="connsiteY5" fmla="*/ 961338 h 2122841"/>
                  <a:gd name="connsiteX6" fmla="*/ 2344057 w 3781294"/>
                  <a:gd name="connsiteY6" fmla="*/ 351738 h 2122841"/>
                  <a:gd name="connsiteX7" fmla="*/ 2783114 w 3781294"/>
                  <a:gd name="connsiteY7" fmla="*/ 1491109 h 2122841"/>
                  <a:gd name="connsiteX8" fmla="*/ 3269342 w 3781294"/>
                  <a:gd name="connsiteY8" fmla="*/ 533166 h 2122841"/>
                  <a:gd name="connsiteX9" fmla="*/ 3781294 w 3781294"/>
                  <a:gd name="connsiteY9" fmla="*/ 2122841 h 2122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81294" h="2122841">
                    <a:moveTo>
                      <a:pt x="0" y="406166"/>
                    </a:moveTo>
                    <a:cubicBezTo>
                      <a:pt x="191709" y="397699"/>
                      <a:pt x="327781" y="1372576"/>
                      <a:pt x="486228" y="1451195"/>
                    </a:cubicBezTo>
                    <a:cubicBezTo>
                      <a:pt x="644675" y="1529814"/>
                      <a:pt x="820661" y="891789"/>
                      <a:pt x="950685" y="877880"/>
                    </a:cubicBezTo>
                    <a:cubicBezTo>
                      <a:pt x="1080709" y="863971"/>
                      <a:pt x="1147838" y="1513486"/>
                      <a:pt x="1266371" y="1367738"/>
                    </a:cubicBezTo>
                    <a:cubicBezTo>
                      <a:pt x="1384904" y="1221991"/>
                      <a:pt x="1530652" y="71128"/>
                      <a:pt x="1661885" y="3395"/>
                    </a:cubicBezTo>
                    <a:cubicBezTo>
                      <a:pt x="1793118" y="-64338"/>
                      <a:pt x="1940076" y="903281"/>
                      <a:pt x="2053771" y="961338"/>
                    </a:cubicBezTo>
                    <a:cubicBezTo>
                      <a:pt x="2167466" y="1019395"/>
                      <a:pt x="2222500" y="263443"/>
                      <a:pt x="2344057" y="351738"/>
                    </a:cubicBezTo>
                    <a:cubicBezTo>
                      <a:pt x="2465614" y="440033"/>
                      <a:pt x="2628900" y="1460871"/>
                      <a:pt x="2783114" y="1491109"/>
                    </a:cubicBezTo>
                    <a:cubicBezTo>
                      <a:pt x="2937328" y="1521347"/>
                      <a:pt x="3102979" y="427877"/>
                      <a:pt x="3269342" y="533166"/>
                    </a:cubicBezTo>
                    <a:cubicBezTo>
                      <a:pt x="3435705" y="638455"/>
                      <a:pt x="3632824" y="1479072"/>
                      <a:pt x="3781294" y="2122841"/>
                    </a:cubicBezTo>
                  </a:path>
                </a:pathLst>
              </a:custGeom>
              <a:noFill/>
              <a:ln>
                <a:solidFill>
                  <a:schemeClr val="bg1">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57" name="Freeform: Shape 156"/>
              <p:cNvSpPr/>
              <p:nvPr/>
            </p:nvSpPr>
            <p:spPr>
              <a:xfrm>
                <a:off x="3258458" y="6195929"/>
                <a:ext cx="3236685" cy="1220174"/>
              </a:xfrm>
              <a:custGeom>
                <a:avLst/>
                <a:gdLst>
                  <a:gd name="connsiteX0" fmla="*/ 0 w 6527800"/>
                  <a:gd name="connsiteY0" fmla="*/ 1190184 h 2282384"/>
                  <a:gd name="connsiteX1" fmla="*/ 765628 w 6527800"/>
                  <a:gd name="connsiteY1" fmla="*/ 1865099 h 2282384"/>
                  <a:gd name="connsiteX2" fmla="*/ 1531257 w 6527800"/>
                  <a:gd name="connsiteY2" fmla="*/ 13 h 2282384"/>
                  <a:gd name="connsiteX3" fmla="*/ 2140857 w 6527800"/>
                  <a:gd name="connsiteY3" fmla="*/ 1897756 h 2282384"/>
                  <a:gd name="connsiteX4" fmla="*/ 2804886 w 6527800"/>
                  <a:gd name="connsiteY4" fmla="*/ 801927 h 2282384"/>
                  <a:gd name="connsiteX5" fmla="*/ 3291114 w 6527800"/>
                  <a:gd name="connsiteY5" fmla="*/ 1846956 h 2282384"/>
                  <a:gd name="connsiteX6" fmla="*/ 3755571 w 6527800"/>
                  <a:gd name="connsiteY6" fmla="*/ 1273641 h 2282384"/>
                  <a:gd name="connsiteX7" fmla="*/ 4071257 w 6527800"/>
                  <a:gd name="connsiteY7" fmla="*/ 1763499 h 2282384"/>
                  <a:gd name="connsiteX8" fmla="*/ 4466771 w 6527800"/>
                  <a:gd name="connsiteY8" fmla="*/ 399156 h 2282384"/>
                  <a:gd name="connsiteX9" fmla="*/ 4858657 w 6527800"/>
                  <a:gd name="connsiteY9" fmla="*/ 1357099 h 2282384"/>
                  <a:gd name="connsiteX10" fmla="*/ 5148943 w 6527800"/>
                  <a:gd name="connsiteY10" fmla="*/ 747499 h 2282384"/>
                  <a:gd name="connsiteX11" fmla="*/ 5588000 w 6527800"/>
                  <a:gd name="connsiteY11" fmla="*/ 1886870 h 2282384"/>
                  <a:gd name="connsiteX12" fmla="*/ 6074228 w 6527800"/>
                  <a:gd name="connsiteY12" fmla="*/ 928927 h 2282384"/>
                  <a:gd name="connsiteX13" fmla="*/ 6527800 w 6527800"/>
                  <a:gd name="connsiteY13" fmla="*/ 2282384 h 2282384"/>
                  <a:gd name="connsiteX0" fmla="*/ 0 w 6527800"/>
                  <a:gd name="connsiteY0" fmla="*/ 1219485 h 2311685"/>
                  <a:gd name="connsiteX1" fmla="*/ 765628 w 6527800"/>
                  <a:gd name="connsiteY1" fmla="*/ 1894400 h 2311685"/>
                  <a:gd name="connsiteX2" fmla="*/ 1531257 w 6527800"/>
                  <a:gd name="connsiteY2" fmla="*/ 29314 h 2311685"/>
                  <a:gd name="connsiteX3" fmla="*/ 2804886 w 6527800"/>
                  <a:gd name="connsiteY3" fmla="*/ 831228 h 2311685"/>
                  <a:gd name="connsiteX4" fmla="*/ 3291114 w 6527800"/>
                  <a:gd name="connsiteY4" fmla="*/ 1876257 h 2311685"/>
                  <a:gd name="connsiteX5" fmla="*/ 3755571 w 6527800"/>
                  <a:gd name="connsiteY5" fmla="*/ 1302942 h 2311685"/>
                  <a:gd name="connsiteX6" fmla="*/ 4071257 w 6527800"/>
                  <a:gd name="connsiteY6" fmla="*/ 1792800 h 2311685"/>
                  <a:gd name="connsiteX7" fmla="*/ 4466771 w 6527800"/>
                  <a:gd name="connsiteY7" fmla="*/ 428457 h 2311685"/>
                  <a:gd name="connsiteX8" fmla="*/ 4858657 w 6527800"/>
                  <a:gd name="connsiteY8" fmla="*/ 1386400 h 2311685"/>
                  <a:gd name="connsiteX9" fmla="*/ 5148943 w 6527800"/>
                  <a:gd name="connsiteY9" fmla="*/ 776800 h 2311685"/>
                  <a:gd name="connsiteX10" fmla="*/ 5588000 w 6527800"/>
                  <a:gd name="connsiteY10" fmla="*/ 1916171 h 2311685"/>
                  <a:gd name="connsiteX11" fmla="*/ 6074228 w 6527800"/>
                  <a:gd name="connsiteY11" fmla="*/ 958228 h 2311685"/>
                  <a:gd name="connsiteX12" fmla="*/ 6527800 w 6527800"/>
                  <a:gd name="connsiteY12" fmla="*/ 2311685 h 2311685"/>
                  <a:gd name="connsiteX0" fmla="*/ 0 w 6527800"/>
                  <a:gd name="connsiteY0" fmla="*/ 794423 h 1886623"/>
                  <a:gd name="connsiteX1" fmla="*/ 765628 w 6527800"/>
                  <a:gd name="connsiteY1" fmla="*/ 1469338 h 1886623"/>
                  <a:gd name="connsiteX2" fmla="*/ 2804886 w 6527800"/>
                  <a:gd name="connsiteY2" fmla="*/ 406166 h 1886623"/>
                  <a:gd name="connsiteX3" fmla="*/ 3291114 w 6527800"/>
                  <a:gd name="connsiteY3" fmla="*/ 1451195 h 1886623"/>
                  <a:gd name="connsiteX4" fmla="*/ 3755571 w 6527800"/>
                  <a:gd name="connsiteY4" fmla="*/ 877880 h 1886623"/>
                  <a:gd name="connsiteX5" fmla="*/ 4071257 w 6527800"/>
                  <a:gd name="connsiteY5" fmla="*/ 1367738 h 1886623"/>
                  <a:gd name="connsiteX6" fmla="*/ 4466771 w 6527800"/>
                  <a:gd name="connsiteY6" fmla="*/ 3395 h 1886623"/>
                  <a:gd name="connsiteX7" fmla="*/ 4858657 w 6527800"/>
                  <a:gd name="connsiteY7" fmla="*/ 961338 h 1886623"/>
                  <a:gd name="connsiteX8" fmla="*/ 5148943 w 6527800"/>
                  <a:gd name="connsiteY8" fmla="*/ 351738 h 1886623"/>
                  <a:gd name="connsiteX9" fmla="*/ 5588000 w 6527800"/>
                  <a:gd name="connsiteY9" fmla="*/ 1491109 h 1886623"/>
                  <a:gd name="connsiteX10" fmla="*/ 6074228 w 6527800"/>
                  <a:gd name="connsiteY10" fmla="*/ 533166 h 1886623"/>
                  <a:gd name="connsiteX11" fmla="*/ 6527800 w 6527800"/>
                  <a:gd name="connsiteY11" fmla="*/ 1886623 h 1886623"/>
                  <a:gd name="connsiteX0" fmla="*/ 0 w 6527800"/>
                  <a:gd name="connsiteY0" fmla="*/ 794423 h 1886623"/>
                  <a:gd name="connsiteX1" fmla="*/ 765628 w 6527800"/>
                  <a:gd name="connsiteY1" fmla="*/ 1469338 h 1886623"/>
                  <a:gd name="connsiteX2" fmla="*/ 3291114 w 6527800"/>
                  <a:gd name="connsiteY2" fmla="*/ 1451195 h 1886623"/>
                  <a:gd name="connsiteX3" fmla="*/ 3755571 w 6527800"/>
                  <a:gd name="connsiteY3" fmla="*/ 877880 h 1886623"/>
                  <a:gd name="connsiteX4" fmla="*/ 4071257 w 6527800"/>
                  <a:gd name="connsiteY4" fmla="*/ 1367738 h 1886623"/>
                  <a:gd name="connsiteX5" fmla="*/ 4466771 w 6527800"/>
                  <a:gd name="connsiteY5" fmla="*/ 3395 h 1886623"/>
                  <a:gd name="connsiteX6" fmla="*/ 4858657 w 6527800"/>
                  <a:gd name="connsiteY6" fmla="*/ 961338 h 1886623"/>
                  <a:gd name="connsiteX7" fmla="*/ 5148943 w 6527800"/>
                  <a:gd name="connsiteY7" fmla="*/ 351738 h 1886623"/>
                  <a:gd name="connsiteX8" fmla="*/ 5588000 w 6527800"/>
                  <a:gd name="connsiteY8" fmla="*/ 1491109 h 1886623"/>
                  <a:gd name="connsiteX9" fmla="*/ 6074228 w 6527800"/>
                  <a:gd name="connsiteY9" fmla="*/ 533166 h 1886623"/>
                  <a:gd name="connsiteX10" fmla="*/ 6527800 w 6527800"/>
                  <a:gd name="connsiteY10" fmla="*/ 1886623 h 1886623"/>
                  <a:gd name="connsiteX0" fmla="*/ 0 w 6527800"/>
                  <a:gd name="connsiteY0" fmla="*/ 794423 h 1886623"/>
                  <a:gd name="connsiteX1" fmla="*/ 3291114 w 6527800"/>
                  <a:gd name="connsiteY1" fmla="*/ 1451195 h 1886623"/>
                  <a:gd name="connsiteX2" fmla="*/ 3755571 w 6527800"/>
                  <a:gd name="connsiteY2" fmla="*/ 877880 h 1886623"/>
                  <a:gd name="connsiteX3" fmla="*/ 4071257 w 6527800"/>
                  <a:gd name="connsiteY3" fmla="*/ 1367738 h 1886623"/>
                  <a:gd name="connsiteX4" fmla="*/ 4466771 w 6527800"/>
                  <a:gd name="connsiteY4" fmla="*/ 3395 h 1886623"/>
                  <a:gd name="connsiteX5" fmla="*/ 4858657 w 6527800"/>
                  <a:gd name="connsiteY5" fmla="*/ 961338 h 1886623"/>
                  <a:gd name="connsiteX6" fmla="*/ 5148943 w 6527800"/>
                  <a:gd name="connsiteY6" fmla="*/ 351738 h 1886623"/>
                  <a:gd name="connsiteX7" fmla="*/ 5588000 w 6527800"/>
                  <a:gd name="connsiteY7" fmla="*/ 1491109 h 1886623"/>
                  <a:gd name="connsiteX8" fmla="*/ 6074228 w 6527800"/>
                  <a:gd name="connsiteY8" fmla="*/ 533166 h 1886623"/>
                  <a:gd name="connsiteX9" fmla="*/ 6527800 w 6527800"/>
                  <a:gd name="connsiteY9" fmla="*/ 1886623 h 1886623"/>
                  <a:gd name="connsiteX0" fmla="*/ -1 w 3236685"/>
                  <a:gd name="connsiteY0" fmla="*/ 1451195 h 1886623"/>
                  <a:gd name="connsiteX1" fmla="*/ 464456 w 3236685"/>
                  <a:gd name="connsiteY1" fmla="*/ 877880 h 1886623"/>
                  <a:gd name="connsiteX2" fmla="*/ 780142 w 3236685"/>
                  <a:gd name="connsiteY2" fmla="*/ 1367738 h 1886623"/>
                  <a:gd name="connsiteX3" fmla="*/ 1175656 w 3236685"/>
                  <a:gd name="connsiteY3" fmla="*/ 3395 h 1886623"/>
                  <a:gd name="connsiteX4" fmla="*/ 1567542 w 3236685"/>
                  <a:gd name="connsiteY4" fmla="*/ 961338 h 1886623"/>
                  <a:gd name="connsiteX5" fmla="*/ 1857828 w 3236685"/>
                  <a:gd name="connsiteY5" fmla="*/ 351738 h 1886623"/>
                  <a:gd name="connsiteX6" fmla="*/ 2296885 w 3236685"/>
                  <a:gd name="connsiteY6" fmla="*/ 1491109 h 1886623"/>
                  <a:gd name="connsiteX7" fmla="*/ 2783113 w 3236685"/>
                  <a:gd name="connsiteY7" fmla="*/ 533166 h 1886623"/>
                  <a:gd name="connsiteX8" fmla="*/ 3236685 w 3236685"/>
                  <a:gd name="connsiteY8" fmla="*/ 1886623 h 1886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36685" h="1886623">
                    <a:moveTo>
                      <a:pt x="-1" y="1451195"/>
                    </a:moveTo>
                    <a:cubicBezTo>
                      <a:pt x="625927" y="1465104"/>
                      <a:pt x="334432" y="891789"/>
                      <a:pt x="464456" y="877880"/>
                    </a:cubicBezTo>
                    <a:cubicBezTo>
                      <a:pt x="594480" y="863971"/>
                      <a:pt x="661609" y="1513486"/>
                      <a:pt x="780142" y="1367738"/>
                    </a:cubicBezTo>
                    <a:cubicBezTo>
                      <a:pt x="898675" y="1221991"/>
                      <a:pt x="1044423" y="71128"/>
                      <a:pt x="1175656" y="3395"/>
                    </a:cubicBezTo>
                    <a:cubicBezTo>
                      <a:pt x="1306889" y="-64338"/>
                      <a:pt x="1453847" y="903281"/>
                      <a:pt x="1567542" y="961338"/>
                    </a:cubicBezTo>
                    <a:cubicBezTo>
                      <a:pt x="1681237" y="1019395"/>
                      <a:pt x="1736271" y="263443"/>
                      <a:pt x="1857828" y="351738"/>
                    </a:cubicBezTo>
                    <a:cubicBezTo>
                      <a:pt x="1979385" y="440033"/>
                      <a:pt x="2142671" y="1460871"/>
                      <a:pt x="2296885" y="1491109"/>
                    </a:cubicBezTo>
                    <a:cubicBezTo>
                      <a:pt x="2451099" y="1521347"/>
                      <a:pt x="2626480" y="467247"/>
                      <a:pt x="2783113" y="533166"/>
                    </a:cubicBezTo>
                    <a:cubicBezTo>
                      <a:pt x="2939746" y="599085"/>
                      <a:pt x="3088215" y="1242854"/>
                      <a:pt x="3236685" y="1886623"/>
                    </a:cubicBezTo>
                  </a:path>
                </a:pathLst>
              </a:custGeom>
              <a:noFill/>
              <a:ln>
                <a:solidFill>
                  <a:schemeClr val="bg1">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58" name="Freeform: Shape 157"/>
              <p:cNvSpPr/>
              <p:nvPr/>
            </p:nvSpPr>
            <p:spPr>
              <a:xfrm>
                <a:off x="4038601" y="6633271"/>
                <a:ext cx="2456542" cy="862645"/>
              </a:xfrm>
              <a:custGeom>
                <a:avLst/>
                <a:gdLst>
                  <a:gd name="connsiteX0" fmla="*/ 0 w 6527800"/>
                  <a:gd name="connsiteY0" fmla="*/ 1190184 h 2282384"/>
                  <a:gd name="connsiteX1" fmla="*/ 765628 w 6527800"/>
                  <a:gd name="connsiteY1" fmla="*/ 1865099 h 2282384"/>
                  <a:gd name="connsiteX2" fmla="*/ 1531257 w 6527800"/>
                  <a:gd name="connsiteY2" fmla="*/ 13 h 2282384"/>
                  <a:gd name="connsiteX3" fmla="*/ 2140857 w 6527800"/>
                  <a:gd name="connsiteY3" fmla="*/ 1897756 h 2282384"/>
                  <a:gd name="connsiteX4" fmla="*/ 2804886 w 6527800"/>
                  <a:gd name="connsiteY4" fmla="*/ 801927 h 2282384"/>
                  <a:gd name="connsiteX5" fmla="*/ 3291114 w 6527800"/>
                  <a:gd name="connsiteY5" fmla="*/ 1846956 h 2282384"/>
                  <a:gd name="connsiteX6" fmla="*/ 3755571 w 6527800"/>
                  <a:gd name="connsiteY6" fmla="*/ 1273641 h 2282384"/>
                  <a:gd name="connsiteX7" fmla="*/ 4071257 w 6527800"/>
                  <a:gd name="connsiteY7" fmla="*/ 1763499 h 2282384"/>
                  <a:gd name="connsiteX8" fmla="*/ 4466771 w 6527800"/>
                  <a:gd name="connsiteY8" fmla="*/ 399156 h 2282384"/>
                  <a:gd name="connsiteX9" fmla="*/ 4858657 w 6527800"/>
                  <a:gd name="connsiteY9" fmla="*/ 1357099 h 2282384"/>
                  <a:gd name="connsiteX10" fmla="*/ 5148943 w 6527800"/>
                  <a:gd name="connsiteY10" fmla="*/ 747499 h 2282384"/>
                  <a:gd name="connsiteX11" fmla="*/ 5588000 w 6527800"/>
                  <a:gd name="connsiteY11" fmla="*/ 1886870 h 2282384"/>
                  <a:gd name="connsiteX12" fmla="*/ 6074228 w 6527800"/>
                  <a:gd name="connsiteY12" fmla="*/ 928927 h 2282384"/>
                  <a:gd name="connsiteX13" fmla="*/ 6527800 w 6527800"/>
                  <a:gd name="connsiteY13" fmla="*/ 2282384 h 2282384"/>
                  <a:gd name="connsiteX0" fmla="*/ 0 w 5762172"/>
                  <a:gd name="connsiteY0" fmla="*/ 1865099 h 2282384"/>
                  <a:gd name="connsiteX1" fmla="*/ 765629 w 5762172"/>
                  <a:gd name="connsiteY1" fmla="*/ 13 h 2282384"/>
                  <a:gd name="connsiteX2" fmla="*/ 1375229 w 5762172"/>
                  <a:gd name="connsiteY2" fmla="*/ 1897756 h 2282384"/>
                  <a:gd name="connsiteX3" fmla="*/ 2039258 w 5762172"/>
                  <a:gd name="connsiteY3" fmla="*/ 801927 h 2282384"/>
                  <a:gd name="connsiteX4" fmla="*/ 2525486 w 5762172"/>
                  <a:gd name="connsiteY4" fmla="*/ 1846956 h 2282384"/>
                  <a:gd name="connsiteX5" fmla="*/ 2989943 w 5762172"/>
                  <a:gd name="connsiteY5" fmla="*/ 1273641 h 2282384"/>
                  <a:gd name="connsiteX6" fmla="*/ 3305629 w 5762172"/>
                  <a:gd name="connsiteY6" fmla="*/ 1763499 h 2282384"/>
                  <a:gd name="connsiteX7" fmla="*/ 3701143 w 5762172"/>
                  <a:gd name="connsiteY7" fmla="*/ 399156 h 2282384"/>
                  <a:gd name="connsiteX8" fmla="*/ 4093029 w 5762172"/>
                  <a:gd name="connsiteY8" fmla="*/ 1357099 h 2282384"/>
                  <a:gd name="connsiteX9" fmla="*/ 4383315 w 5762172"/>
                  <a:gd name="connsiteY9" fmla="*/ 747499 h 2282384"/>
                  <a:gd name="connsiteX10" fmla="*/ 4822372 w 5762172"/>
                  <a:gd name="connsiteY10" fmla="*/ 1886870 h 2282384"/>
                  <a:gd name="connsiteX11" fmla="*/ 5308600 w 5762172"/>
                  <a:gd name="connsiteY11" fmla="*/ 928927 h 2282384"/>
                  <a:gd name="connsiteX12" fmla="*/ 5762172 w 5762172"/>
                  <a:gd name="connsiteY12" fmla="*/ 2282384 h 2282384"/>
                  <a:gd name="connsiteX0" fmla="*/ 1 w 4996544"/>
                  <a:gd name="connsiteY0" fmla="*/ -2 h 2282369"/>
                  <a:gd name="connsiteX1" fmla="*/ 609601 w 4996544"/>
                  <a:gd name="connsiteY1" fmla="*/ 1897741 h 2282369"/>
                  <a:gd name="connsiteX2" fmla="*/ 1273630 w 4996544"/>
                  <a:gd name="connsiteY2" fmla="*/ 801912 h 2282369"/>
                  <a:gd name="connsiteX3" fmla="*/ 1759858 w 4996544"/>
                  <a:gd name="connsiteY3" fmla="*/ 1846941 h 2282369"/>
                  <a:gd name="connsiteX4" fmla="*/ 2224315 w 4996544"/>
                  <a:gd name="connsiteY4" fmla="*/ 1273626 h 2282369"/>
                  <a:gd name="connsiteX5" fmla="*/ 2540001 w 4996544"/>
                  <a:gd name="connsiteY5" fmla="*/ 1763484 h 2282369"/>
                  <a:gd name="connsiteX6" fmla="*/ 2935515 w 4996544"/>
                  <a:gd name="connsiteY6" fmla="*/ 399141 h 2282369"/>
                  <a:gd name="connsiteX7" fmla="*/ 3327401 w 4996544"/>
                  <a:gd name="connsiteY7" fmla="*/ 1357084 h 2282369"/>
                  <a:gd name="connsiteX8" fmla="*/ 3617687 w 4996544"/>
                  <a:gd name="connsiteY8" fmla="*/ 747484 h 2282369"/>
                  <a:gd name="connsiteX9" fmla="*/ 4056744 w 4996544"/>
                  <a:gd name="connsiteY9" fmla="*/ 1886855 h 2282369"/>
                  <a:gd name="connsiteX10" fmla="*/ 4542972 w 4996544"/>
                  <a:gd name="connsiteY10" fmla="*/ 928912 h 2282369"/>
                  <a:gd name="connsiteX11" fmla="*/ 4996544 w 4996544"/>
                  <a:gd name="connsiteY11" fmla="*/ 2282369 h 2282369"/>
                  <a:gd name="connsiteX0" fmla="*/ 0 w 4386943"/>
                  <a:gd name="connsiteY0" fmla="*/ 1501995 h 1886623"/>
                  <a:gd name="connsiteX1" fmla="*/ 664029 w 4386943"/>
                  <a:gd name="connsiteY1" fmla="*/ 406166 h 1886623"/>
                  <a:gd name="connsiteX2" fmla="*/ 1150257 w 4386943"/>
                  <a:gd name="connsiteY2" fmla="*/ 1451195 h 1886623"/>
                  <a:gd name="connsiteX3" fmla="*/ 1614714 w 4386943"/>
                  <a:gd name="connsiteY3" fmla="*/ 877880 h 1886623"/>
                  <a:gd name="connsiteX4" fmla="*/ 1930400 w 4386943"/>
                  <a:gd name="connsiteY4" fmla="*/ 1367738 h 1886623"/>
                  <a:gd name="connsiteX5" fmla="*/ 2325914 w 4386943"/>
                  <a:gd name="connsiteY5" fmla="*/ 3395 h 1886623"/>
                  <a:gd name="connsiteX6" fmla="*/ 2717800 w 4386943"/>
                  <a:gd name="connsiteY6" fmla="*/ 961338 h 1886623"/>
                  <a:gd name="connsiteX7" fmla="*/ 3008086 w 4386943"/>
                  <a:gd name="connsiteY7" fmla="*/ 351738 h 1886623"/>
                  <a:gd name="connsiteX8" fmla="*/ 3447143 w 4386943"/>
                  <a:gd name="connsiteY8" fmla="*/ 1491109 h 1886623"/>
                  <a:gd name="connsiteX9" fmla="*/ 3933371 w 4386943"/>
                  <a:gd name="connsiteY9" fmla="*/ 533166 h 1886623"/>
                  <a:gd name="connsiteX10" fmla="*/ 4386943 w 4386943"/>
                  <a:gd name="connsiteY10" fmla="*/ 1886623 h 1886623"/>
                  <a:gd name="connsiteX0" fmla="*/ 1 w 3722915"/>
                  <a:gd name="connsiteY0" fmla="*/ 406166 h 1886623"/>
                  <a:gd name="connsiteX1" fmla="*/ 486229 w 3722915"/>
                  <a:gd name="connsiteY1" fmla="*/ 1451195 h 1886623"/>
                  <a:gd name="connsiteX2" fmla="*/ 950686 w 3722915"/>
                  <a:gd name="connsiteY2" fmla="*/ 877880 h 1886623"/>
                  <a:gd name="connsiteX3" fmla="*/ 1266372 w 3722915"/>
                  <a:gd name="connsiteY3" fmla="*/ 1367738 h 1886623"/>
                  <a:gd name="connsiteX4" fmla="*/ 1661886 w 3722915"/>
                  <a:gd name="connsiteY4" fmla="*/ 3395 h 1886623"/>
                  <a:gd name="connsiteX5" fmla="*/ 2053772 w 3722915"/>
                  <a:gd name="connsiteY5" fmla="*/ 961338 h 1886623"/>
                  <a:gd name="connsiteX6" fmla="*/ 2344058 w 3722915"/>
                  <a:gd name="connsiteY6" fmla="*/ 351738 h 1886623"/>
                  <a:gd name="connsiteX7" fmla="*/ 2783115 w 3722915"/>
                  <a:gd name="connsiteY7" fmla="*/ 1491109 h 1886623"/>
                  <a:gd name="connsiteX8" fmla="*/ 3269343 w 3722915"/>
                  <a:gd name="connsiteY8" fmla="*/ 533166 h 1886623"/>
                  <a:gd name="connsiteX9" fmla="*/ 3722915 w 3722915"/>
                  <a:gd name="connsiteY9" fmla="*/ 1886623 h 1886623"/>
                  <a:gd name="connsiteX0" fmla="*/ -1 w 3236685"/>
                  <a:gd name="connsiteY0" fmla="*/ 1451195 h 1886623"/>
                  <a:gd name="connsiteX1" fmla="*/ 464456 w 3236685"/>
                  <a:gd name="connsiteY1" fmla="*/ 877880 h 1886623"/>
                  <a:gd name="connsiteX2" fmla="*/ 780142 w 3236685"/>
                  <a:gd name="connsiteY2" fmla="*/ 1367738 h 1886623"/>
                  <a:gd name="connsiteX3" fmla="*/ 1175656 w 3236685"/>
                  <a:gd name="connsiteY3" fmla="*/ 3395 h 1886623"/>
                  <a:gd name="connsiteX4" fmla="*/ 1567542 w 3236685"/>
                  <a:gd name="connsiteY4" fmla="*/ 961338 h 1886623"/>
                  <a:gd name="connsiteX5" fmla="*/ 1857828 w 3236685"/>
                  <a:gd name="connsiteY5" fmla="*/ 351738 h 1886623"/>
                  <a:gd name="connsiteX6" fmla="*/ 2296885 w 3236685"/>
                  <a:gd name="connsiteY6" fmla="*/ 1491109 h 1886623"/>
                  <a:gd name="connsiteX7" fmla="*/ 2783113 w 3236685"/>
                  <a:gd name="connsiteY7" fmla="*/ 533166 h 1886623"/>
                  <a:gd name="connsiteX8" fmla="*/ 3236685 w 3236685"/>
                  <a:gd name="connsiteY8" fmla="*/ 1886623 h 1886623"/>
                  <a:gd name="connsiteX0" fmla="*/ 0 w 2772229"/>
                  <a:gd name="connsiteY0" fmla="*/ 877880 h 1886623"/>
                  <a:gd name="connsiteX1" fmla="*/ 315686 w 2772229"/>
                  <a:gd name="connsiteY1" fmla="*/ 1367738 h 1886623"/>
                  <a:gd name="connsiteX2" fmla="*/ 711200 w 2772229"/>
                  <a:gd name="connsiteY2" fmla="*/ 3395 h 1886623"/>
                  <a:gd name="connsiteX3" fmla="*/ 1103086 w 2772229"/>
                  <a:gd name="connsiteY3" fmla="*/ 961338 h 1886623"/>
                  <a:gd name="connsiteX4" fmla="*/ 1393372 w 2772229"/>
                  <a:gd name="connsiteY4" fmla="*/ 351738 h 1886623"/>
                  <a:gd name="connsiteX5" fmla="*/ 1832429 w 2772229"/>
                  <a:gd name="connsiteY5" fmla="*/ 1491109 h 1886623"/>
                  <a:gd name="connsiteX6" fmla="*/ 2318657 w 2772229"/>
                  <a:gd name="connsiteY6" fmla="*/ 533166 h 1886623"/>
                  <a:gd name="connsiteX7" fmla="*/ 2772229 w 2772229"/>
                  <a:gd name="connsiteY7" fmla="*/ 1886623 h 1886623"/>
                  <a:gd name="connsiteX0" fmla="*/ 0 w 2456543"/>
                  <a:gd name="connsiteY0" fmla="*/ 1367738 h 1886623"/>
                  <a:gd name="connsiteX1" fmla="*/ 395514 w 2456543"/>
                  <a:gd name="connsiteY1" fmla="*/ 3395 h 1886623"/>
                  <a:gd name="connsiteX2" fmla="*/ 787400 w 2456543"/>
                  <a:gd name="connsiteY2" fmla="*/ 961338 h 1886623"/>
                  <a:gd name="connsiteX3" fmla="*/ 1077686 w 2456543"/>
                  <a:gd name="connsiteY3" fmla="*/ 351738 h 1886623"/>
                  <a:gd name="connsiteX4" fmla="*/ 1516743 w 2456543"/>
                  <a:gd name="connsiteY4" fmla="*/ 1491109 h 1886623"/>
                  <a:gd name="connsiteX5" fmla="*/ 2002971 w 2456543"/>
                  <a:gd name="connsiteY5" fmla="*/ 533166 h 1886623"/>
                  <a:gd name="connsiteX6" fmla="*/ 2456543 w 2456543"/>
                  <a:gd name="connsiteY6" fmla="*/ 1886623 h 1886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56543" h="1886623">
                    <a:moveTo>
                      <a:pt x="0" y="1367738"/>
                    </a:moveTo>
                    <a:cubicBezTo>
                      <a:pt x="118533" y="1221991"/>
                      <a:pt x="264281" y="71128"/>
                      <a:pt x="395514" y="3395"/>
                    </a:cubicBezTo>
                    <a:cubicBezTo>
                      <a:pt x="526747" y="-64338"/>
                      <a:pt x="673705" y="903281"/>
                      <a:pt x="787400" y="961338"/>
                    </a:cubicBezTo>
                    <a:cubicBezTo>
                      <a:pt x="901095" y="1019395"/>
                      <a:pt x="956129" y="263443"/>
                      <a:pt x="1077686" y="351738"/>
                    </a:cubicBezTo>
                    <a:cubicBezTo>
                      <a:pt x="1199243" y="440033"/>
                      <a:pt x="1362529" y="1460871"/>
                      <a:pt x="1516743" y="1491109"/>
                    </a:cubicBezTo>
                    <a:cubicBezTo>
                      <a:pt x="1670957" y="1521347"/>
                      <a:pt x="1846338" y="467247"/>
                      <a:pt x="2002971" y="533166"/>
                    </a:cubicBezTo>
                    <a:cubicBezTo>
                      <a:pt x="2159604" y="599085"/>
                      <a:pt x="2308073" y="1242854"/>
                      <a:pt x="2456543" y="1886623"/>
                    </a:cubicBezTo>
                  </a:path>
                </a:pathLst>
              </a:custGeom>
              <a:noFill/>
              <a:ln>
                <a:solidFill>
                  <a:schemeClr val="bg1">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grpSp>
      <p:sp>
        <p:nvSpPr>
          <p:cNvPr id="163" name="Rectangle 162"/>
          <p:cNvSpPr/>
          <p:nvPr userDrawn="1"/>
        </p:nvSpPr>
        <p:spPr>
          <a:xfrm>
            <a:off x="0" y="0"/>
            <a:ext cx="12436475" cy="6994525"/>
          </a:xfrm>
          <a:prstGeom prst="rect">
            <a:avLst/>
          </a:prstGeom>
          <a:gradFill>
            <a:gsLst>
              <a:gs pos="0">
                <a:srgbClr val="002050">
                  <a:alpha val="60000"/>
                </a:srgbClr>
              </a:gs>
              <a:gs pos="100000">
                <a:srgbClr val="002050">
                  <a:alpha val="70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836" kern="0">
              <a:solidFill>
                <a:sysClr val="windowText" lastClr="000000"/>
              </a:solidFill>
            </a:endParaRPr>
          </a:p>
        </p:txBody>
      </p:sp>
      <p:graphicFrame>
        <p:nvGraphicFramePr>
          <p:cNvPr id="11" name="Object 10"/>
          <p:cNvGraphicFramePr>
            <a:graphicFrameLocks noChangeAspect="1"/>
          </p:cNvGraphicFramePr>
          <p:nvPr userDrawn="1">
            <p:custDataLst>
              <p:tags r:id="rId2"/>
            </p:custDataLst>
            <p:extLst/>
          </p:nvPr>
        </p:nvGraphicFramePr>
        <p:xfrm>
          <a:off x="0" y="2581"/>
          <a:ext cx="1587" cy="1587"/>
        </p:xfrm>
        <a:graphic>
          <a:graphicData uri="http://schemas.openxmlformats.org/presentationml/2006/ole">
            <mc:AlternateContent xmlns:mc="http://schemas.openxmlformats.org/markup-compatibility/2006">
              <mc:Choice xmlns:v="urn:schemas-microsoft-com:vml" Requires="v">
                <p:oleObj spid="_x0000_s4105" name="think-cell Slide" r:id="rId5" imgW="270" imgH="270" progId="TCLayout.ActiveDocument.1">
                  <p:embed/>
                </p:oleObj>
              </mc:Choice>
              <mc:Fallback>
                <p:oleObj name="think-cell Slide" r:id="rId5" imgW="270" imgH="270" progId="TCLayout.ActiveDocument.1">
                  <p:embed/>
                  <p:pic>
                    <p:nvPicPr>
                      <p:cNvPr id="11" name="Object 10"/>
                      <p:cNvPicPr/>
                      <p:nvPr/>
                    </p:nvPicPr>
                    <p:blipFill>
                      <a:blip r:embed="rId6"/>
                      <a:stretch>
                        <a:fillRect/>
                      </a:stretch>
                    </p:blipFill>
                    <p:spPr>
                      <a:xfrm>
                        <a:off x="0" y="2581"/>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1152869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dirty="0"/>
          </a:p>
        </p:txBody>
      </p:sp>
    </p:spTree>
    <p:extLst>
      <p:ext uri="{BB962C8B-B14F-4D97-AF65-F5344CB8AC3E}">
        <p14:creationId xmlns:p14="http://schemas.microsoft.com/office/powerpoint/2010/main" val="2770551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458348092"/>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35593305"/>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Edit Master text styles</a:t>
            </a:r>
          </a:p>
        </p:txBody>
      </p:sp>
    </p:spTree>
    <p:extLst>
      <p:ext uri="{BB962C8B-B14F-4D97-AF65-F5344CB8AC3E}">
        <p14:creationId xmlns:p14="http://schemas.microsoft.com/office/powerpoint/2010/main" val="1858335616"/>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
        <p:nvSpPr>
          <p:cNvPr id="2" name="Slide Number Placeholder 1"/>
          <p:cNvSpPr>
            <a:spLocks noGrp="1"/>
          </p:cNvSpPr>
          <p:nvPr>
            <p:ph type="sldNum" sz="quarter" idx="11"/>
          </p:nvPr>
        </p:nvSpPr>
        <p:spPr/>
        <p:txBody>
          <a:bodyPr/>
          <a:lstStyle/>
          <a:p>
            <a:pPr marL="0" marR="0" lvl="0" indent="0" defTabSz="932563"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32563" eaLnBrk="1" fontAlgn="auto" latinLnBrk="0" hangingPunct="1">
                <a:lnSpc>
                  <a:spcPct val="100000"/>
                </a:lnSpc>
                <a:spcBef>
                  <a:spcPts val="0"/>
                </a:spcBef>
                <a:spcAft>
                  <a:spcPts val="0"/>
                </a:spcAft>
                <a:buClrTx/>
                <a:buSzTx/>
                <a:buFontTx/>
                <a:buNone/>
                <a:tabLst/>
                <a:defRPr/>
              </a:pPr>
              <a:t>‹#›</a:t>
            </a:fld>
            <a:endParaRPr kumimoji="0" lang="en-US" sz="1800" b="0" i="0" u="none" strike="noStrike" kern="0" cap="none" spc="0" normalizeH="0" baseline="0" noProof="0" dirty="0">
              <a:ln>
                <a:noFill/>
              </a:ln>
              <a:solidFill>
                <a:srgbClr val="505050">
                  <a:tint val="75000"/>
                </a:srgbClr>
              </a:solidFill>
              <a:effectLst/>
              <a:uLnTx/>
              <a:uFillTx/>
            </a:endParaRPr>
          </a:p>
        </p:txBody>
      </p:sp>
    </p:spTree>
    <p:extLst>
      <p:ext uri="{BB962C8B-B14F-4D97-AF65-F5344CB8AC3E}">
        <p14:creationId xmlns:p14="http://schemas.microsoft.com/office/powerpoint/2010/main" val="2382663365"/>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4268931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endParaRPr lang="en-US" dirty="0"/>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18867859"/>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1.xml"/><Relationship Id="rId5" Type="http://schemas.openxmlformats.org/officeDocument/2006/relationships/vmlDrawing" Target="../drawings/vmlDrawing1.v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theme" Target="../theme/theme2.xml"/><Relationship Id="rId1" Type="http://schemas.openxmlformats.org/officeDocument/2006/relationships/slideLayout" Target="../slideLayouts/slideLayout4.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image" Target="../media/image4.png"/><Relationship Id="rId5" Type="http://schemas.openxmlformats.org/officeDocument/2006/relationships/theme" Target="../theme/theme3.xml"/><Relationship Id="rId4" Type="http://schemas.openxmlformats.org/officeDocument/2006/relationships/slideLayout" Target="../slideLayouts/slideLayout8.xml"/></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theme" Target="../theme/theme4.xml"/><Relationship Id="rId1" Type="http://schemas.openxmlformats.org/officeDocument/2006/relationships/slideLayout" Target="../slideLayouts/slideLayout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slideLayout" Target="../slideLayouts/slideLayout22.xml"/><Relationship Id="rId18" Type="http://schemas.openxmlformats.org/officeDocument/2006/relationships/slideLayout" Target="../slideLayouts/slideLayout27.xml"/><Relationship Id="rId3" Type="http://schemas.openxmlformats.org/officeDocument/2006/relationships/slideLayout" Target="../slideLayouts/slideLayout12.xml"/><Relationship Id="rId21" Type="http://schemas.openxmlformats.org/officeDocument/2006/relationships/image" Target="../media/image6.emf"/><Relationship Id="rId7" Type="http://schemas.openxmlformats.org/officeDocument/2006/relationships/slideLayout" Target="../slideLayouts/slideLayout16.xml"/><Relationship Id="rId12" Type="http://schemas.openxmlformats.org/officeDocument/2006/relationships/slideLayout" Target="../slideLayouts/slideLayout21.xml"/><Relationship Id="rId17" Type="http://schemas.openxmlformats.org/officeDocument/2006/relationships/slideLayout" Target="../slideLayouts/slideLayout26.xml"/><Relationship Id="rId2" Type="http://schemas.openxmlformats.org/officeDocument/2006/relationships/slideLayout" Target="../slideLayouts/slideLayout11.xml"/><Relationship Id="rId16" Type="http://schemas.openxmlformats.org/officeDocument/2006/relationships/slideLayout" Target="../slideLayouts/slideLayout25.xml"/><Relationship Id="rId20" Type="http://schemas.openxmlformats.org/officeDocument/2006/relationships/theme" Target="../theme/theme5.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5" Type="http://schemas.openxmlformats.org/officeDocument/2006/relationships/slideLayout" Target="../slideLayouts/slideLayout24.xml"/><Relationship Id="rId10" Type="http://schemas.openxmlformats.org/officeDocument/2006/relationships/slideLayout" Target="../slideLayouts/slideLayout19.xml"/><Relationship Id="rId19" Type="http://schemas.openxmlformats.org/officeDocument/2006/relationships/slideLayout" Target="../slideLayouts/slideLayout28.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slideLayout" Target="../slideLayouts/slideLayout2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2172" name="think-cell Slide" r:id="rId7" imgW="383" imgH="384" progId="TCLayout.ActiveDocument.1">
                  <p:embed/>
                </p:oleObj>
              </mc:Choice>
              <mc:Fallback>
                <p:oleObj name="think-cell Slide" r:id="rId7" imgW="383" imgH="384" progId="TCLayout.ActiveDocument.1">
                  <p:embed/>
                  <p:pic>
                    <p:nvPicPr>
                      <p:cNvPr id="3" name="Object 2" hidden="1"/>
                      <p:cNvPicPr/>
                      <p:nvPr/>
                    </p:nvPicPr>
                    <p:blipFill>
                      <a:blip r:embed="rId8"/>
                      <a:stretch>
                        <a:fillRect/>
                      </a:stretch>
                    </p:blipFill>
                    <p:spPr>
                      <a:xfrm>
                        <a:off x="1621" y="1621"/>
                        <a:ext cx="1619" cy="1619"/>
                      </a:xfrm>
                      <a:prstGeom prst="rect">
                        <a:avLst/>
                      </a:prstGeom>
                    </p:spPr>
                  </p:pic>
                </p:oleObj>
              </mc:Fallback>
            </mc:AlternateContent>
          </a:graphicData>
        </a:graphic>
      </p:graphicFrame>
      <p:sp>
        <p:nvSpPr>
          <p:cNvPr id="2" name="Title Placeholder 1"/>
          <p:cNvSpPr>
            <a:spLocks noGrp="1"/>
          </p:cNvSpPr>
          <p:nvPr>
            <p:ph type="title"/>
          </p:nvPr>
        </p:nvSpPr>
        <p:spPr>
          <a:xfrm>
            <a:off x="1" y="2"/>
            <a:ext cx="12436475" cy="658903"/>
          </a:xfrm>
          <a:prstGeom prst="rect">
            <a:avLst/>
          </a:prstGeom>
        </p:spPr>
        <p:txBody>
          <a:bodyPr vert="horz" lIns="320040" tIns="152357" rIns="53325" bIns="53325" rtlCol="0" anchor="ctr">
            <a:normAutofit/>
          </a:bodyPr>
          <a:lstStyle/>
          <a:p>
            <a:endParaRPr lang="en-US" dirty="0"/>
          </a:p>
        </p:txBody>
      </p:sp>
      <p:sp>
        <p:nvSpPr>
          <p:cNvPr id="15" name="Text Placeholder 14"/>
          <p:cNvSpPr>
            <a:spLocks noGrp="1"/>
          </p:cNvSpPr>
          <p:nvPr>
            <p:ph type="body" idx="1"/>
          </p:nvPr>
        </p:nvSpPr>
        <p:spPr>
          <a:xfrm>
            <a:off x="153878" y="1632058"/>
            <a:ext cx="12128721" cy="4650299"/>
          </a:xfrm>
          <a:prstGeom prst="rect">
            <a:avLst/>
          </a:prstGeom>
        </p:spPr>
        <p:txBody>
          <a:bodyPr vert="horz" lIns="182880" tIns="91440" rIns="18288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89079982"/>
      </p:ext>
    </p:extLst>
  </p:cSld>
  <p:clrMap bg1="lt1" tx1="dk1" bg2="lt2" tx2="dk2" accent1="accent1" accent2="accent2" accent3="accent3" accent4="accent4" accent5="accent5" accent6="accent6" hlink="hlink" folHlink="folHlink"/>
  <p:sldLayoutIdLst>
    <p:sldLayoutId id="2147484529" r:id="rId1"/>
    <p:sldLayoutId id="2147484535" r:id="rId2"/>
    <p:sldLayoutId id="2147484540" r:id="rId3"/>
  </p:sldLayoutIdLst>
  <p:transition>
    <p:fade/>
  </p:transition>
  <p:hf hdr="0" ftr="0" dt="0"/>
  <p:txStyles>
    <p:title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p:titleStyle>
    <p:bodyStyle>
      <a:lvl1pPr marL="0" indent="0" algn="l" defTabSz="1109758" rtl="0" eaLnBrk="1" latinLnBrk="0" hangingPunct="1">
        <a:spcBef>
          <a:spcPts val="1836"/>
        </a:spcBef>
        <a:buClr>
          <a:srgbClr val="0072C6"/>
        </a:buClr>
        <a:buSzPct val="100000"/>
        <a:buFont typeface="Wingdings" pitchFamily="2" charset="2"/>
        <a:buNone/>
        <a:defRPr sz="2448" kern="1200">
          <a:solidFill>
            <a:schemeClr val="tx2"/>
          </a:solidFill>
          <a:latin typeface="Segoe UI" pitchFamily="34" charset="0"/>
          <a:ea typeface="Segoe UI" pitchFamily="34" charset="0"/>
          <a:cs typeface="Segoe UI" pitchFamily="34" charset="0"/>
        </a:defRPr>
      </a:lvl1pPr>
      <a:lvl2pPr marL="485544" indent="-198264" algn="l" defTabSz="1109758" rtl="0" eaLnBrk="1" latinLnBrk="0" hangingPunct="1">
        <a:spcBef>
          <a:spcPct val="20000"/>
        </a:spcBef>
        <a:buFont typeface="Arial" pitchFamily="34" charset="0"/>
        <a:buChar char="•"/>
        <a:defRPr sz="1836" kern="1200">
          <a:solidFill>
            <a:schemeClr val="tx1"/>
          </a:solidFill>
          <a:latin typeface="Segoe UI" pitchFamily="34" charset="0"/>
          <a:ea typeface="Segoe UI" pitchFamily="34" charset="0"/>
          <a:cs typeface="Segoe UI" pitchFamily="34" charset="0"/>
        </a:defRPr>
      </a:lvl2pPr>
      <a:lvl3pPr marL="776870" indent="-176683" algn="l" defTabSz="1109758" rtl="0" eaLnBrk="1" latinLnBrk="0" hangingPunct="1">
        <a:spcBef>
          <a:spcPct val="20000"/>
        </a:spcBef>
        <a:buFont typeface="Arial" pitchFamily="34" charset="0"/>
        <a:buChar char="•"/>
        <a:defRPr sz="1632" kern="1200">
          <a:solidFill>
            <a:schemeClr val="tx1"/>
          </a:solidFill>
          <a:latin typeface="Segoe UI" pitchFamily="34" charset="0"/>
          <a:ea typeface="Segoe UI" pitchFamily="34" charset="0"/>
          <a:cs typeface="Segoe UI" pitchFamily="34" charset="0"/>
        </a:defRPr>
      </a:lvl3pPr>
      <a:lvl4pPr marL="1068196" indent="-180730"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4pPr>
      <a:lvl5pPr marL="1310968" indent="-183428"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5pPr>
      <a:lvl6pPr marL="3051837"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71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596"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47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9pPr>
    </p:bodyStyle>
    <p:otherStyle>
      <a:defPPr>
        <a:defRPr lang="en-US"/>
      </a:defPPr>
      <a:lvl1pPr marL="0" algn="l" defTabSz="1109758" rtl="0" eaLnBrk="1" latinLnBrk="0" hangingPunct="1">
        <a:defRPr sz="2244" kern="1200">
          <a:solidFill>
            <a:schemeClr val="tx1"/>
          </a:solidFill>
          <a:latin typeface="+mn-lt"/>
          <a:ea typeface="+mn-ea"/>
          <a:cs typeface="+mn-cs"/>
        </a:defRPr>
      </a:lvl1pPr>
      <a:lvl2pPr marL="554880" algn="l" defTabSz="1109758" rtl="0" eaLnBrk="1" latinLnBrk="0" hangingPunct="1">
        <a:defRPr sz="2244" kern="1200">
          <a:solidFill>
            <a:schemeClr val="tx1"/>
          </a:solidFill>
          <a:latin typeface="+mn-lt"/>
          <a:ea typeface="+mn-ea"/>
          <a:cs typeface="+mn-cs"/>
        </a:defRPr>
      </a:lvl2pPr>
      <a:lvl3pPr marL="1109758" algn="l" defTabSz="1109758" rtl="0" eaLnBrk="1" latinLnBrk="0" hangingPunct="1">
        <a:defRPr sz="2244" kern="1200">
          <a:solidFill>
            <a:schemeClr val="tx1"/>
          </a:solidFill>
          <a:latin typeface="+mn-lt"/>
          <a:ea typeface="+mn-ea"/>
          <a:cs typeface="+mn-cs"/>
        </a:defRPr>
      </a:lvl3pPr>
      <a:lvl4pPr marL="1664639" algn="l" defTabSz="1109758" rtl="0" eaLnBrk="1" latinLnBrk="0" hangingPunct="1">
        <a:defRPr sz="2244" kern="1200">
          <a:solidFill>
            <a:schemeClr val="tx1"/>
          </a:solidFill>
          <a:latin typeface="+mn-lt"/>
          <a:ea typeface="+mn-ea"/>
          <a:cs typeface="+mn-cs"/>
        </a:defRPr>
      </a:lvl4pPr>
      <a:lvl5pPr marL="2219518" algn="l" defTabSz="1109758" rtl="0" eaLnBrk="1" latinLnBrk="0" hangingPunct="1">
        <a:defRPr sz="2244" kern="1200">
          <a:solidFill>
            <a:schemeClr val="tx1"/>
          </a:solidFill>
          <a:latin typeface="+mn-lt"/>
          <a:ea typeface="+mn-ea"/>
          <a:cs typeface="+mn-cs"/>
        </a:defRPr>
      </a:lvl5pPr>
      <a:lvl6pPr marL="2774397" algn="l" defTabSz="1109758" rtl="0" eaLnBrk="1" latinLnBrk="0" hangingPunct="1">
        <a:defRPr sz="2244" kern="1200">
          <a:solidFill>
            <a:schemeClr val="tx1"/>
          </a:solidFill>
          <a:latin typeface="+mn-lt"/>
          <a:ea typeface="+mn-ea"/>
          <a:cs typeface="+mn-cs"/>
        </a:defRPr>
      </a:lvl6pPr>
      <a:lvl7pPr marL="3329276" algn="l" defTabSz="1109758" rtl="0" eaLnBrk="1" latinLnBrk="0" hangingPunct="1">
        <a:defRPr sz="2244" kern="1200">
          <a:solidFill>
            <a:schemeClr val="tx1"/>
          </a:solidFill>
          <a:latin typeface="+mn-lt"/>
          <a:ea typeface="+mn-ea"/>
          <a:cs typeface="+mn-cs"/>
        </a:defRPr>
      </a:lvl7pPr>
      <a:lvl8pPr marL="3884156" algn="l" defTabSz="1109758" rtl="0" eaLnBrk="1" latinLnBrk="0" hangingPunct="1">
        <a:defRPr sz="2244" kern="1200">
          <a:solidFill>
            <a:schemeClr val="tx1"/>
          </a:solidFill>
          <a:latin typeface="+mn-lt"/>
          <a:ea typeface="+mn-ea"/>
          <a:cs typeface="+mn-cs"/>
        </a:defRPr>
      </a:lvl8pPr>
      <a:lvl9pPr marL="4439035" algn="l" defTabSz="1109758" rtl="0" eaLnBrk="1" latinLnBrk="0" hangingPunct="1">
        <a:defRPr sz="224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4045143060"/>
      </p:ext>
    </p:extLst>
  </p:cSld>
  <p:clrMap bg1="lt1" tx1="dk1" bg2="lt2" tx2="dk2" accent1="accent1" accent2="accent2" accent3="accent3" accent4="accent4" accent5="accent5" accent6="accent6" hlink="hlink" folHlink="folHlink"/>
  <p:sldLayoutIdLst>
    <p:sldLayoutId id="2147484551" r:id="rId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6"/>
          <a:stretch>
            <a:fillRect/>
          </a:stretch>
        </p:blipFill>
        <p:spPr>
          <a:xfrm rot="5400000">
            <a:off x="9393899" y="3050513"/>
            <a:ext cx="6995160" cy="894134"/>
          </a:xfrm>
          <a:prstGeom prst="rect">
            <a:avLst/>
          </a:prstGeom>
        </p:spPr>
      </p:pic>
      <p:pic>
        <p:nvPicPr>
          <p:cNvPr id="5" name="Picture 4"/>
          <p:cNvPicPr>
            <a:picLocks noChangeAspect="1"/>
          </p:cNvPicPr>
          <p:nvPr userDrawn="1"/>
        </p:nvPicPr>
        <p:blipFill>
          <a:blip r:embed="rId6"/>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03402332"/>
      </p:ext>
    </p:extLst>
  </p:cSld>
  <p:clrMap bg1="lt1" tx1="dk1" bg2="lt2" tx2="dk2" accent1="accent1" accent2="accent2" accent3="accent3" accent4="accent4" accent5="accent5" accent6="accent6" hlink="hlink" folHlink="folHlink"/>
  <p:sldLayoutIdLst>
    <p:sldLayoutId id="2147484554" r:id="rId1"/>
    <p:sldLayoutId id="2147484557" r:id="rId2"/>
    <p:sldLayoutId id="2147484561" r:id="rId3"/>
    <p:sldLayoutId id="2147484562" r:id="rId4"/>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982530799"/>
      </p:ext>
    </p:extLst>
  </p:cSld>
  <p:clrMap bg1="lt1" tx1="dk1" bg2="lt2" tx2="dk2" accent1="accent1" accent2="accent2" accent3="accent3" accent4="accent4" accent5="accent5" accent6="accent6" hlink="hlink" folHlink="folHlink"/>
  <p:sldLayoutIdLst>
    <p:sldLayoutId id="2147484568" r:id="rId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1181394609"/>
      </p:ext>
    </p:extLst>
  </p:cSld>
  <p:clrMap bg1="lt1" tx1="dk1" bg2="lt2" tx2="dk2" accent1="accent1" accent2="accent2" accent3="accent3" accent4="accent4" accent5="accent5" accent6="accent6" hlink="hlink" folHlink="folHlink"/>
  <p:sldLayoutIdLst>
    <p:sldLayoutId id="2147484570" r:id="rId1"/>
    <p:sldLayoutId id="2147484571" r:id="rId2"/>
    <p:sldLayoutId id="2147484572" r:id="rId3"/>
    <p:sldLayoutId id="2147484573" r:id="rId4"/>
    <p:sldLayoutId id="2147484574" r:id="rId5"/>
    <p:sldLayoutId id="2147484575" r:id="rId6"/>
    <p:sldLayoutId id="2147484576" r:id="rId7"/>
    <p:sldLayoutId id="2147484577" r:id="rId8"/>
    <p:sldLayoutId id="2147484578" r:id="rId9"/>
    <p:sldLayoutId id="2147484579" r:id="rId10"/>
    <p:sldLayoutId id="2147484580" r:id="rId11"/>
    <p:sldLayoutId id="2147484581" r:id="rId12"/>
    <p:sldLayoutId id="2147484582" r:id="rId13"/>
    <p:sldLayoutId id="2147484583" r:id="rId14"/>
    <p:sldLayoutId id="2147484584" r:id="rId15"/>
    <p:sldLayoutId id="2147484585" r:id="rId16"/>
    <p:sldLayoutId id="2147484586" r:id="rId17"/>
    <p:sldLayoutId id="2147484587" r:id="rId18"/>
    <p:sldLayoutId id="2147484588" r:id="rId19"/>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slideLayout" Target="../slideLayouts/slideLayout1.xml"/><Relationship Id="rId7" Type="http://schemas.openxmlformats.org/officeDocument/2006/relationships/image" Target="../media/image15.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4.emf"/><Relationship Id="rId5" Type="http://schemas.openxmlformats.org/officeDocument/2006/relationships/oleObject" Target="../embeddings/oleObject3.bin"/><Relationship Id="rId4" Type="http://schemas.openxmlformats.org/officeDocument/2006/relationships/notesSlide" Target="../notesSlides/notesSlide1.xml"/><Relationship Id="rId9" Type="http://schemas.openxmlformats.org/officeDocument/2006/relationships/image" Target="../media/image17.emf"/></Relationships>
</file>

<file path=ppt/slides/_rels/slide1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2.xml"/><Relationship Id="rId1" Type="http://schemas.openxmlformats.org/officeDocument/2006/relationships/slideLayout" Target="../slideLayouts/slideLayout6.xml"/><Relationship Id="rId4" Type="http://schemas.openxmlformats.org/officeDocument/2006/relationships/image" Target="../media/image26.png"/></Relationships>
</file>

<file path=ppt/slides/_rels/slide13.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notesSlide" Target="../notesSlides/notesSlide13.xml"/><Relationship Id="rId1" Type="http://schemas.openxmlformats.org/officeDocument/2006/relationships/slideLayout" Target="../slideLayouts/slideLayout5.xml"/><Relationship Id="rId4" Type="http://schemas.openxmlformats.org/officeDocument/2006/relationships/image" Target="../media/image20.emf"/></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notesSlide" Target="../notesSlides/notesSlide15.xm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16.xml"/><Relationship Id="rId1" Type="http://schemas.openxmlformats.org/officeDocument/2006/relationships/slideLayout" Target="../slideLayouts/slideLayout9.xml"/><Relationship Id="rId5" Type="http://schemas.openxmlformats.org/officeDocument/2006/relationships/image" Target="../media/image31.png"/><Relationship Id="rId4" Type="http://schemas.openxmlformats.org/officeDocument/2006/relationships/image" Target="../media/image30.png"/></Relationships>
</file>

<file path=ppt/slides/_rels/slide17.xml.rels><?xml version="1.0" encoding="UTF-8" standalone="yes"?>
<Relationships xmlns="http://schemas.openxmlformats.org/package/2006/relationships"><Relationship Id="rId8" Type="http://schemas.openxmlformats.org/officeDocument/2006/relationships/hyperlink" Target="https://azure.microsoft.com/en-us/services/data-lake-store/" TargetMode="External"/><Relationship Id="rId3" Type="http://schemas.openxmlformats.org/officeDocument/2006/relationships/hyperlink" Target="https://azure.microsoft.com/en-us/services/sql-database/" TargetMode="External"/><Relationship Id="rId7" Type="http://schemas.openxmlformats.org/officeDocument/2006/relationships/hyperlink" Target="https://azure.microsoft.com/en-us/services/stream-analytics/" TargetMode="External"/><Relationship Id="rId2" Type="http://schemas.openxmlformats.org/officeDocument/2006/relationships/notesSlide" Target="../notesSlides/notesSlide17.xml"/><Relationship Id="rId1" Type="http://schemas.openxmlformats.org/officeDocument/2006/relationships/slideLayout" Target="../slideLayouts/slideLayout1.xml"/><Relationship Id="rId6" Type="http://schemas.openxmlformats.org/officeDocument/2006/relationships/hyperlink" Target="https://azure.microsoft.com/en-us/services/machine-learning/" TargetMode="External"/><Relationship Id="rId11" Type="http://schemas.openxmlformats.org/officeDocument/2006/relationships/hyperlink" Target="https://azure.microsoft.com/en-us/services/data-factory/" TargetMode="External"/><Relationship Id="rId5" Type="http://schemas.openxmlformats.org/officeDocument/2006/relationships/hyperlink" Target="https://azure.microsoft.com/en-us/services/hdinsight/" TargetMode="External"/><Relationship Id="rId10" Type="http://schemas.openxmlformats.org/officeDocument/2006/relationships/hyperlink" Target="https://azure.microsoft.com/en-us/services/data-catalog/" TargetMode="External"/><Relationship Id="rId4" Type="http://schemas.openxmlformats.org/officeDocument/2006/relationships/hyperlink" Target="https://azure.microsoft.com/en-us/services/sql-data-warehouse/" TargetMode="External"/><Relationship Id="rId9" Type="http://schemas.openxmlformats.org/officeDocument/2006/relationships/hyperlink" Target="https://azure.microsoft.com/en-us/services/data-lake-analytics/" TargetMode="Externa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1.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notesSlide" Target="../notesSlides/notesSlide6.xml"/><Relationship Id="rId1" Type="http://schemas.openxmlformats.org/officeDocument/2006/relationships/slideLayout" Target="../slideLayouts/slideLayout5.xml"/><Relationship Id="rId4" Type="http://schemas.openxmlformats.org/officeDocument/2006/relationships/image" Target="../media/image20.emf"/></Relationships>
</file>

<file path=ppt/slides/_rels/slide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7.xml"/><Relationship Id="rId1" Type="http://schemas.openxmlformats.org/officeDocument/2006/relationships/slideLayout" Target="../slideLayouts/slideLayout6.xml"/><Relationship Id="rId4" Type="http://schemas.microsoft.com/office/2007/relationships/hdphoto" Target="../media/hdphoto2.wdp"/></Relationships>
</file>

<file path=ppt/slides/_rels/slide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8.xml"/><Relationship Id="rId1" Type="http://schemas.openxmlformats.org/officeDocument/2006/relationships/slideLayout" Target="../slideLayouts/slideLayout6.xml"/><Relationship Id="rId4" Type="http://schemas.microsoft.com/office/2007/relationships/hdphoto" Target="../media/hdphoto2.wdp"/></Relationships>
</file>

<file path=ppt/slides/_rels/slide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4122" y="1620"/>
          <a:ext cx="1619" cy="1619"/>
        </p:xfrm>
        <a:graphic>
          <a:graphicData uri="http://schemas.openxmlformats.org/presentationml/2006/ole">
            <mc:AlternateContent xmlns:mc="http://schemas.openxmlformats.org/markup-compatibility/2006">
              <mc:Choice xmlns:v="urn:schemas-microsoft-com:vml" Requires="v">
                <p:oleObj spid="_x0000_s5127" name="think-cell Slide" r:id="rId5" imgW="377" imgH="377" progId="TCLayout.ActiveDocument.1">
                  <p:embed/>
                </p:oleObj>
              </mc:Choice>
              <mc:Fallback>
                <p:oleObj name="think-cell Slide" r:id="rId5" imgW="377" imgH="377" progId="TCLayout.ActiveDocument.1">
                  <p:embed/>
                  <p:pic>
                    <p:nvPicPr>
                      <p:cNvPr id="3" name="Object 2" hidden="1"/>
                      <p:cNvPicPr/>
                      <p:nvPr/>
                    </p:nvPicPr>
                    <p:blipFill>
                      <a:blip r:embed="rId6"/>
                      <a:stretch>
                        <a:fillRect/>
                      </a:stretch>
                    </p:blipFill>
                    <p:spPr>
                      <a:xfrm>
                        <a:off x="4122" y="1620"/>
                        <a:ext cx="1619" cy="1619"/>
                      </a:xfrm>
                      <a:prstGeom prst="rect">
                        <a:avLst/>
                      </a:prstGeom>
                    </p:spPr>
                  </p:pic>
                </p:oleObj>
              </mc:Fallback>
            </mc:AlternateContent>
          </a:graphicData>
        </a:graphic>
      </p:graphicFrame>
      <p:grpSp>
        <p:nvGrpSpPr>
          <p:cNvPr id="852" name="Group 851"/>
          <p:cNvGrpSpPr/>
          <p:nvPr/>
        </p:nvGrpSpPr>
        <p:grpSpPr>
          <a:xfrm>
            <a:off x="8649742" y="955816"/>
            <a:ext cx="1826854" cy="1826850"/>
            <a:chOff x="8441230" y="913268"/>
            <a:chExt cx="1791196" cy="1791192"/>
          </a:xfrm>
        </p:grpSpPr>
        <p:sp>
          <p:nvSpPr>
            <p:cNvPr id="853" name="Freeform 852"/>
            <p:cNvSpPr>
              <a:spLocks noEditPoints="1"/>
            </p:cNvSpPr>
            <p:nvPr/>
          </p:nvSpPr>
          <p:spPr bwMode="black">
            <a:xfrm>
              <a:off x="9678332" y="1536353"/>
              <a:ext cx="338073" cy="681753"/>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l" defTabSz="755481"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latin typeface="Segoe UI"/>
                <a:ea typeface="+mn-ea"/>
                <a:cs typeface="+mn-cs"/>
                <a:sym typeface="Segoe UI" panose="020B0502040204020203" pitchFamily="34" charset="0"/>
              </a:endParaRPr>
            </a:p>
          </p:txBody>
        </p:sp>
        <p:sp>
          <p:nvSpPr>
            <p:cNvPr id="854" name="Freeform 88"/>
            <p:cNvSpPr>
              <a:spLocks noEditPoints="1"/>
            </p:cNvSpPr>
            <p:nvPr/>
          </p:nvSpPr>
          <p:spPr bwMode="black">
            <a:xfrm>
              <a:off x="8774074" y="1498691"/>
              <a:ext cx="848373" cy="7194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l" defTabSz="755481"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latin typeface="Segoe UI"/>
                <a:ea typeface="+mn-ea"/>
                <a:cs typeface="+mn-cs"/>
                <a:sym typeface="Segoe UI" panose="020B0502040204020203" pitchFamily="34" charset="0"/>
              </a:endParaRPr>
            </a:p>
          </p:txBody>
        </p:sp>
        <p:sp>
          <p:nvSpPr>
            <p:cNvPr id="855" name="Rounded Rectangle 47"/>
            <p:cNvSpPr/>
            <p:nvPr/>
          </p:nvSpPr>
          <p:spPr>
            <a:xfrm rot="5400000">
              <a:off x="8441232" y="913266"/>
              <a:ext cx="1791192" cy="1791196"/>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algn="l" defTabSz="1243196" rtl="0"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latin typeface="Segoe UI"/>
                <a:ea typeface="+mn-ea"/>
                <a:cs typeface="+mn-cs"/>
              </a:endParaRPr>
            </a:p>
          </p:txBody>
        </p:sp>
        <p:sp>
          <p:nvSpPr>
            <p:cNvPr id="856" name="Freeform 855"/>
            <p:cNvSpPr/>
            <p:nvPr/>
          </p:nvSpPr>
          <p:spPr>
            <a:xfrm>
              <a:off x="8576999" y="1049038"/>
              <a:ext cx="1519656" cy="1519652"/>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algn="l" defTabSz="1243196" rtl="0"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latin typeface="Segoe UI"/>
                <a:ea typeface="+mn-ea"/>
                <a:cs typeface="+mn-cs"/>
              </a:endParaRPr>
            </a:p>
          </p:txBody>
        </p:sp>
      </p:grpSp>
      <p:sp>
        <p:nvSpPr>
          <p:cNvPr id="831" name="Freeform 830"/>
          <p:cNvSpPr/>
          <p:nvPr/>
        </p:nvSpPr>
        <p:spPr>
          <a:xfrm rot="18900000">
            <a:off x="2292982" y="2959300"/>
            <a:ext cx="200769" cy="766144"/>
          </a:xfrm>
          <a:custGeom>
            <a:avLst/>
            <a:gdLst>
              <a:gd name="connsiteX0" fmla="*/ 482600 w 482600"/>
              <a:gd name="connsiteY0" fmla="*/ 0 h 1758950"/>
              <a:gd name="connsiteX1" fmla="*/ 0 w 482600"/>
              <a:gd name="connsiteY1" fmla="*/ 488950 h 1758950"/>
              <a:gd name="connsiteX2" fmla="*/ 0 w 482600"/>
              <a:gd name="connsiteY2" fmla="*/ 1517650 h 1758950"/>
              <a:gd name="connsiteX3" fmla="*/ 196850 w 482600"/>
              <a:gd name="connsiteY3" fmla="*/ 1701800 h 1758950"/>
              <a:gd name="connsiteX4" fmla="*/ 196850 w 482600"/>
              <a:gd name="connsiteY4" fmla="*/ 1758950 h 1758950"/>
              <a:gd name="connsiteX0" fmla="*/ 482600 w 482600"/>
              <a:gd name="connsiteY0" fmla="*/ 0 h 1758950"/>
              <a:gd name="connsiteX1" fmla="*/ 0 w 482600"/>
              <a:gd name="connsiteY1" fmla="*/ 488950 h 1758950"/>
              <a:gd name="connsiteX2" fmla="*/ 3767 w 482600"/>
              <a:gd name="connsiteY2" fmla="*/ 1007760 h 1758950"/>
              <a:gd name="connsiteX3" fmla="*/ 0 w 482600"/>
              <a:gd name="connsiteY3" fmla="*/ 1517650 h 1758950"/>
              <a:gd name="connsiteX4" fmla="*/ 196850 w 482600"/>
              <a:gd name="connsiteY4" fmla="*/ 1701800 h 1758950"/>
              <a:gd name="connsiteX5" fmla="*/ 196850 w 482600"/>
              <a:gd name="connsiteY5" fmla="*/ 1758950 h 1758950"/>
              <a:gd name="connsiteX0" fmla="*/ 0 w 196850"/>
              <a:gd name="connsiteY0" fmla="*/ 0 h 1270000"/>
              <a:gd name="connsiteX1" fmla="*/ 3767 w 196850"/>
              <a:gd name="connsiteY1" fmla="*/ 518810 h 1270000"/>
              <a:gd name="connsiteX2" fmla="*/ 0 w 196850"/>
              <a:gd name="connsiteY2" fmla="*/ 1028700 h 1270000"/>
              <a:gd name="connsiteX3" fmla="*/ 196850 w 196850"/>
              <a:gd name="connsiteY3" fmla="*/ 1212850 h 1270000"/>
              <a:gd name="connsiteX4" fmla="*/ 196850 w 196850"/>
              <a:gd name="connsiteY4" fmla="*/ 1270000 h 1270000"/>
              <a:gd name="connsiteX0" fmla="*/ 3767 w 196850"/>
              <a:gd name="connsiteY0" fmla="*/ 0 h 751190"/>
              <a:gd name="connsiteX1" fmla="*/ 0 w 196850"/>
              <a:gd name="connsiteY1" fmla="*/ 509890 h 751190"/>
              <a:gd name="connsiteX2" fmla="*/ 196850 w 196850"/>
              <a:gd name="connsiteY2" fmla="*/ 694040 h 751190"/>
              <a:gd name="connsiteX3" fmla="*/ 196850 w 196850"/>
              <a:gd name="connsiteY3" fmla="*/ 751190 h 751190"/>
            </a:gdLst>
            <a:ahLst/>
            <a:cxnLst>
              <a:cxn ang="0">
                <a:pos x="connsiteX0" y="connsiteY0"/>
              </a:cxn>
              <a:cxn ang="0">
                <a:pos x="connsiteX1" y="connsiteY1"/>
              </a:cxn>
              <a:cxn ang="0">
                <a:pos x="connsiteX2" y="connsiteY2"/>
              </a:cxn>
              <a:cxn ang="0">
                <a:pos x="connsiteX3" y="connsiteY3"/>
              </a:cxn>
            </a:cxnLst>
            <a:rect l="l" t="t" r="r" b="b"/>
            <a:pathLst>
              <a:path w="196850" h="751190">
                <a:moveTo>
                  <a:pt x="3767" y="0"/>
                </a:moveTo>
                <a:cubicBezTo>
                  <a:pt x="2511" y="169963"/>
                  <a:pt x="1256" y="339927"/>
                  <a:pt x="0" y="509890"/>
                </a:cubicBezTo>
                <a:lnTo>
                  <a:pt x="196850" y="694040"/>
                </a:lnTo>
                <a:lnTo>
                  <a:pt x="196850" y="75119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2" name="Freeform 831"/>
          <p:cNvSpPr/>
          <p:nvPr/>
        </p:nvSpPr>
        <p:spPr>
          <a:xfrm rot="18900000">
            <a:off x="2413872" y="2762932"/>
            <a:ext cx="323821" cy="1111555"/>
          </a:xfrm>
          <a:custGeom>
            <a:avLst/>
            <a:gdLst>
              <a:gd name="connsiteX0" fmla="*/ 565150 w 565150"/>
              <a:gd name="connsiteY0" fmla="*/ 0 h 2044700"/>
              <a:gd name="connsiteX1" fmla="*/ 63500 w 565150"/>
              <a:gd name="connsiteY1" fmla="*/ 533400 h 2044700"/>
              <a:gd name="connsiteX2" fmla="*/ 63500 w 565150"/>
              <a:gd name="connsiteY2" fmla="*/ 1511300 h 2044700"/>
              <a:gd name="connsiteX3" fmla="*/ 317500 w 565150"/>
              <a:gd name="connsiteY3" fmla="*/ 1765300 h 2044700"/>
              <a:gd name="connsiteX4" fmla="*/ 317500 w 565150"/>
              <a:gd name="connsiteY4" fmla="*/ 1803400 h 2044700"/>
              <a:gd name="connsiteX5" fmla="*/ 63500 w 565150"/>
              <a:gd name="connsiteY5" fmla="*/ 2044700 h 2044700"/>
              <a:gd name="connsiteX6" fmla="*/ 0 w 565150"/>
              <a:gd name="connsiteY6" fmla="*/ 2044700 h 2044700"/>
              <a:gd name="connsiteX0" fmla="*/ 565150 w 565150"/>
              <a:gd name="connsiteY0" fmla="*/ 0 h 2044700"/>
              <a:gd name="connsiteX1" fmla="*/ 63500 w 565150"/>
              <a:gd name="connsiteY1" fmla="*/ 533400 h 2044700"/>
              <a:gd name="connsiteX2" fmla="*/ 55922 w 565150"/>
              <a:gd name="connsiteY2" fmla="*/ 954841 h 2044700"/>
              <a:gd name="connsiteX3" fmla="*/ 63500 w 565150"/>
              <a:gd name="connsiteY3" fmla="*/ 1511300 h 2044700"/>
              <a:gd name="connsiteX4" fmla="*/ 317500 w 565150"/>
              <a:gd name="connsiteY4" fmla="*/ 1765300 h 2044700"/>
              <a:gd name="connsiteX5" fmla="*/ 317500 w 565150"/>
              <a:gd name="connsiteY5" fmla="*/ 1803400 h 2044700"/>
              <a:gd name="connsiteX6" fmla="*/ 63500 w 565150"/>
              <a:gd name="connsiteY6" fmla="*/ 2044700 h 2044700"/>
              <a:gd name="connsiteX7" fmla="*/ 0 w 565150"/>
              <a:gd name="connsiteY7" fmla="*/ 2044700 h 2044700"/>
              <a:gd name="connsiteX0" fmla="*/ 63500 w 317500"/>
              <a:gd name="connsiteY0" fmla="*/ 0 h 1511300"/>
              <a:gd name="connsiteX1" fmla="*/ 55922 w 317500"/>
              <a:gd name="connsiteY1" fmla="*/ 421441 h 1511300"/>
              <a:gd name="connsiteX2" fmla="*/ 63500 w 317500"/>
              <a:gd name="connsiteY2" fmla="*/ 977900 h 1511300"/>
              <a:gd name="connsiteX3" fmla="*/ 317500 w 317500"/>
              <a:gd name="connsiteY3" fmla="*/ 1231900 h 1511300"/>
              <a:gd name="connsiteX4" fmla="*/ 317500 w 317500"/>
              <a:gd name="connsiteY4" fmla="*/ 1270000 h 1511300"/>
              <a:gd name="connsiteX5" fmla="*/ 63500 w 317500"/>
              <a:gd name="connsiteY5" fmla="*/ 1511300 h 1511300"/>
              <a:gd name="connsiteX6" fmla="*/ 0 w 317500"/>
              <a:gd name="connsiteY6" fmla="*/ 1511300 h 1511300"/>
              <a:gd name="connsiteX0" fmla="*/ 55922 w 317500"/>
              <a:gd name="connsiteY0" fmla="*/ 0 h 1089859"/>
              <a:gd name="connsiteX1" fmla="*/ 63500 w 317500"/>
              <a:gd name="connsiteY1" fmla="*/ 556459 h 1089859"/>
              <a:gd name="connsiteX2" fmla="*/ 317500 w 317500"/>
              <a:gd name="connsiteY2" fmla="*/ 810459 h 1089859"/>
              <a:gd name="connsiteX3" fmla="*/ 317500 w 317500"/>
              <a:gd name="connsiteY3" fmla="*/ 848559 h 1089859"/>
              <a:gd name="connsiteX4" fmla="*/ 63500 w 317500"/>
              <a:gd name="connsiteY4" fmla="*/ 1089859 h 1089859"/>
              <a:gd name="connsiteX5" fmla="*/ 0 w 317500"/>
              <a:gd name="connsiteY5" fmla="*/ 1089859 h 108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7500" h="1089859">
                <a:moveTo>
                  <a:pt x="55922" y="0"/>
                </a:moveTo>
                <a:lnTo>
                  <a:pt x="63500" y="556459"/>
                </a:lnTo>
                <a:lnTo>
                  <a:pt x="317500" y="810459"/>
                </a:lnTo>
                <a:lnTo>
                  <a:pt x="317500" y="848559"/>
                </a:lnTo>
                <a:lnTo>
                  <a:pt x="63500" y="1089859"/>
                </a:lnTo>
                <a:lnTo>
                  <a:pt x="0" y="1089859"/>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3" name="Freeform 832"/>
          <p:cNvSpPr/>
          <p:nvPr/>
        </p:nvSpPr>
        <p:spPr>
          <a:xfrm rot="18900000">
            <a:off x="2451570" y="2725986"/>
            <a:ext cx="408014" cy="1280924"/>
          </a:xfrm>
          <a:custGeom>
            <a:avLst/>
            <a:gdLst>
              <a:gd name="connsiteX0" fmla="*/ 641350 w 641350"/>
              <a:gd name="connsiteY0" fmla="*/ 0 h 2203450"/>
              <a:gd name="connsiteX1" fmla="*/ 133350 w 641350"/>
              <a:gd name="connsiteY1" fmla="*/ 527050 h 2203450"/>
              <a:gd name="connsiteX2" fmla="*/ 133350 w 641350"/>
              <a:gd name="connsiteY2" fmla="*/ 1473200 h 2203450"/>
              <a:gd name="connsiteX3" fmla="*/ 400050 w 641350"/>
              <a:gd name="connsiteY3" fmla="*/ 1739900 h 2203450"/>
              <a:gd name="connsiteX4" fmla="*/ 400050 w 641350"/>
              <a:gd name="connsiteY4" fmla="*/ 1803400 h 2203450"/>
              <a:gd name="connsiteX5" fmla="*/ 0 w 641350"/>
              <a:gd name="connsiteY5" fmla="*/ 2203450 h 2203450"/>
              <a:gd name="connsiteX0" fmla="*/ 641350 w 641350"/>
              <a:gd name="connsiteY0" fmla="*/ 0 h 2203450"/>
              <a:gd name="connsiteX1" fmla="*/ 133350 w 641350"/>
              <a:gd name="connsiteY1" fmla="*/ 527050 h 2203450"/>
              <a:gd name="connsiteX2" fmla="*/ 134242 w 641350"/>
              <a:gd name="connsiteY2" fmla="*/ 947528 h 2203450"/>
              <a:gd name="connsiteX3" fmla="*/ 133350 w 641350"/>
              <a:gd name="connsiteY3" fmla="*/ 1473200 h 2203450"/>
              <a:gd name="connsiteX4" fmla="*/ 400050 w 641350"/>
              <a:gd name="connsiteY4" fmla="*/ 1739900 h 2203450"/>
              <a:gd name="connsiteX5" fmla="*/ 400050 w 641350"/>
              <a:gd name="connsiteY5" fmla="*/ 1803400 h 2203450"/>
              <a:gd name="connsiteX6" fmla="*/ 0 w 641350"/>
              <a:gd name="connsiteY6" fmla="*/ 2203450 h 2203450"/>
              <a:gd name="connsiteX0" fmla="*/ 133350 w 400050"/>
              <a:gd name="connsiteY0" fmla="*/ 0 h 1676400"/>
              <a:gd name="connsiteX1" fmla="*/ 134242 w 400050"/>
              <a:gd name="connsiteY1" fmla="*/ 420478 h 1676400"/>
              <a:gd name="connsiteX2" fmla="*/ 133350 w 400050"/>
              <a:gd name="connsiteY2" fmla="*/ 946150 h 1676400"/>
              <a:gd name="connsiteX3" fmla="*/ 400050 w 400050"/>
              <a:gd name="connsiteY3" fmla="*/ 1212850 h 1676400"/>
              <a:gd name="connsiteX4" fmla="*/ 400050 w 400050"/>
              <a:gd name="connsiteY4" fmla="*/ 1276350 h 1676400"/>
              <a:gd name="connsiteX5" fmla="*/ 0 w 400050"/>
              <a:gd name="connsiteY5" fmla="*/ 1676400 h 1676400"/>
              <a:gd name="connsiteX0" fmla="*/ 134242 w 400050"/>
              <a:gd name="connsiteY0" fmla="*/ 0 h 1255922"/>
              <a:gd name="connsiteX1" fmla="*/ 133350 w 400050"/>
              <a:gd name="connsiteY1" fmla="*/ 525672 h 1255922"/>
              <a:gd name="connsiteX2" fmla="*/ 400050 w 400050"/>
              <a:gd name="connsiteY2" fmla="*/ 792372 h 1255922"/>
              <a:gd name="connsiteX3" fmla="*/ 400050 w 400050"/>
              <a:gd name="connsiteY3" fmla="*/ 855872 h 1255922"/>
              <a:gd name="connsiteX4" fmla="*/ 0 w 400050"/>
              <a:gd name="connsiteY4" fmla="*/ 1255922 h 1255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050" h="1255922">
                <a:moveTo>
                  <a:pt x="134242" y="0"/>
                </a:moveTo>
                <a:cubicBezTo>
                  <a:pt x="133945" y="175224"/>
                  <a:pt x="133647" y="350448"/>
                  <a:pt x="133350" y="525672"/>
                </a:cubicBezTo>
                <a:lnTo>
                  <a:pt x="400050" y="792372"/>
                </a:lnTo>
                <a:lnTo>
                  <a:pt x="400050" y="855872"/>
                </a:lnTo>
                <a:lnTo>
                  <a:pt x="0" y="125592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4" name="Freeform 833"/>
          <p:cNvSpPr/>
          <p:nvPr/>
        </p:nvSpPr>
        <p:spPr>
          <a:xfrm rot="18900000">
            <a:off x="2510146" y="2655729"/>
            <a:ext cx="304391" cy="1086927"/>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509 w 533400"/>
              <a:gd name="connsiteY2" fmla="*/ 931364 h 1997075"/>
              <a:gd name="connsiteX3" fmla="*/ 0 w 533400"/>
              <a:gd name="connsiteY3" fmla="*/ 1450975 h 1997075"/>
              <a:gd name="connsiteX4" fmla="*/ 298450 w 533400"/>
              <a:gd name="connsiteY4" fmla="*/ 1749425 h 1997075"/>
              <a:gd name="connsiteX5" fmla="*/ 298450 w 533400"/>
              <a:gd name="connsiteY5" fmla="*/ 1828800 h 1997075"/>
              <a:gd name="connsiteX6" fmla="*/ 130175 w 533400"/>
              <a:gd name="connsiteY6" fmla="*/ 1997075 h 1997075"/>
              <a:gd name="connsiteX0" fmla="*/ 0 w 298450"/>
              <a:gd name="connsiteY0" fmla="*/ 0 h 1457325"/>
              <a:gd name="connsiteX1" fmla="*/ 509 w 298450"/>
              <a:gd name="connsiteY1" fmla="*/ 391614 h 1457325"/>
              <a:gd name="connsiteX2" fmla="*/ 0 w 298450"/>
              <a:gd name="connsiteY2" fmla="*/ 911225 h 1457325"/>
              <a:gd name="connsiteX3" fmla="*/ 298450 w 298450"/>
              <a:gd name="connsiteY3" fmla="*/ 1209675 h 1457325"/>
              <a:gd name="connsiteX4" fmla="*/ 298450 w 298450"/>
              <a:gd name="connsiteY4" fmla="*/ 1289050 h 1457325"/>
              <a:gd name="connsiteX5" fmla="*/ 130175 w 298450"/>
              <a:gd name="connsiteY5" fmla="*/ 1457325 h 1457325"/>
              <a:gd name="connsiteX0" fmla="*/ 509 w 298450"/>
              <a:gd name="connsiteY0" fmla="*/ 0 h 1065711"/>
              <a:gd name="connsiteX1" fmla="*/ 0 w 298450"/>
              <a:gd name="connsiteY1" fmla="*/ 519611 h 1065711"/>
              <a:gd name="connsiteX2" fmla="*/ 298450 w 298450"/>
              <a:gd name="connsiteY2" fmla="*/ 818061 h 1065711"/>
              <a:gd name="connsiteX3" fmla="*/ 298450 w 298450"/>
              <a:gd name="connsiteY3" fmla="*/ 897436 h 1065711"/>
              <a:gd name="connsiteX4" fmla="*/ 130175 w 298450"/>
              <a:gd name="connsiteY4" fmla="*/ 1065711 h 1065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450" h="1065711">
                <a:moveTo>
                  <a:pt x="509" y="0"/>
                </a:moveTo>
                <a:cubicBezTo>
                  <a:pt x="339" y="173204"/>
                  <a:pt x="170" y="346407"/>
                  <a:pt x="0" y="519611"/>
                </a:cubicBezTo>
                <a:lnTo>
                  <a:pt x="298450" y="818061"/>
                </a:lnTo>
                <a:lnTo>
                  <a:pt x="298450" y="897436"/>
                </a:lnTo>
                <a:lnTo>
                  <a:pt x="130175" y="106571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5" name="Freeform 834"/>
          <p:cNvSpPr/>
          <p:nvPr/>
        </p:nvSpPr>
        <p:spPr>
          <a:xfrm rot="18900000">
            <a:off x="2609360" y="2586466"/>
            <a:ext cx="316921" cy="1261790"/>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42510 w 542510"/>
              <a:gd name="connsiteY0" fmla="*/ 0 h 2168525"/>
              <a:gd name="connsiteX1" fmla="*/ 9110 w 542510"/>
              <a:gd name="connsiteY1" fmla="*/ 539750 h 2168525"/>
              <a:gd name="connsiteX2" fmla="*/ 0 w 542510"/>
              <a:gd name="connsiteY2" fmla="*/ 931364 h 2168525"/>
              <a:gd name="connsiteX3" fmla="*/ 9110 w 542510"/>
              <a:gd name="connsiteY3" fmla="*/ 1450975 h 2168525"/>
              <a:gd name="connsiteX4" fmla="*/ 307560 w 542510"/>
              <a:gd name="connsiteY4" fmla="*/ 1749425 h 2168525"/>
              <a:gd name="connsiteX5" fmla="*/ 310735 w 542510"/>
              <a:gd name="connsiteY5" fmla="*/ 1873250 h 2168525"/>
              <a:gd name="connsiteX6" fmla="*/ 18635 w 542510"/>
              <a:gd name="connsiteY6" fmla="*/ 2168525 h 2168525"/>
              <a:gd name="connsiteX0" fmla="*/ 9110 w 310735"/>
              <a:gd name="connsiteY0" fmla="*/ 0 h 1628775"/>
              <a:gd name="connsiteX1" fmla="*/ 0 w 310735"/>
              <a:gd name="connsiteY1" fmla="*/ 391614 h 1628775"/>
              <a:gd name="connsiteX2" fmla="*/ 9110 w 310735"/>
              <a:gd name="connsiteY2" fmla="*/ 911225 h 1628775"/>
              <a:gd name="connsiteX3" fmla="*/ 307560 w 310735"/>
              <a:gd name="connsiteY3" fmla="*/ 1209675 h 1628775"/>
              <a:gd name="connsiteX4" fmla="*/ 310735 w 310735"/>
              <a:gd name="connsiteY4" fmla="*/ 1333500 h 1628775"/>
              <a:gd name="connsiteX5" fmla="*/ 18635 w 310735"/>
              <a:gd name="connsiteY5" fmla="*/ 1628775 h 1628775"/>
              <a:gd name="connsiteX0" fmla="*/ 0 w 310735"/>
              <a:gd name="connsiteY0" fmla="*/ 0 h 1237161"/>
              <a:gd name="connsiteX1" fmla="*/ 9110 w 310735"/>
              <a:gd name="connsiteY1" fmla="*/ 519611 h 1237161"/>
              <a:gd name="connsiteX2" fmla="*/ 307560 w 310735"/>
              <a:gd name="connsiteY2" fmla="*/ 818061 h 1237161"/>
              <a:gd name="connsiteX3" fmla="*/ 310735 w 310735"/>
              <a:gd name="connsiteY3" fmla="*/ 941886 h 1237161"/>
              <a:gd name="connsiteX4" fmla="*/ 18635 w 310735"/>
              <a:gd name="connsiteY4" fmla="*/ 1237161 h 123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735" h="1237161">
                <a:moveTo>
                  <a:pt x="0" y="0"/>
                </a:moveTo>
                <a:lnTo>
                  <a:pt x="9110" y="519611"/>
                </a:lnTo>
                <a:lnTo>
                  <a:pt x="307560" y="818061"/>
                </a:lnTo>
                <a:cubicBezTo>
                  <a:pt x="308618" y="859336"/>
                  <a:pt x="309677" y="900611"/>
                  <a:pt x="310735" y="941886"/>
                </a:cubicBezTo>
                <a:lnTo>
                  <a:pt x="18635" y="123716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6" name="Freeform 835"/>
          <p:cNvSpPr/>
          <p:nvPr/>
        </p:nvSpPr>
        <p:spPr>
          <a:xfrm rot="18900000">
            <a:off x="2576769" y="2562149"/>
            <a:ext cx="307630" cy="1039629"/>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1939925"/>
              <a:gd name="connsiteX1" fmla="*/ 0 w 533400"/>
              <a:gd name="connsiteY1" fmla="*/ 539750 h 1939925"/>
              <a:gd name="connsiteX2" fmla="*/ 2824 w 533400"/>
              <a:gd name="connsiteY2" fmla="*/ 920588 h 1939925"/>
              <a:gd name="connsiteX3" fmla="*/ 0 w 533400"/>
              <a:gd name="connsiteY3" fmla="*/ 1450975 h 1939925"/>
              <a:gd name="connsiteX4" fmla="*/ 298450 w 533400"/>
              <a:gd name="connsiteY4" fmla="*/ 1749425 h 1939925"/>
              <a:gd name="connsiteX5" fmla="*/ 301625 w 533400"/>
              <a:gd name="connsiteY5" fmla="*/ 1939925 h 1939925"/>
              <a:gd name="connsiteX0" fmla="*/ 0 w 301625"/>
              <a:gd name="connsiteY0" fmla="*/ 0 h 1400175"/>
              <a:gd name="connsiteX1" fmla="*/ 2824 w 301625"/>
              <a:gd name="connsiteY1" fmla="*/ 380838 h 1400175"/>
              <a:gd name="connsiteX2" fmla="*/ 0 w 301625"/>
              <a:gd name="connsiteY2" fmla="*/ 911225 h 1400175"/>
              <a:gd name="connsiteX3" fmla="*/ 298450 w 301625"/>
              <a:gd name="connsiteY3" fmla="*/ 1209675 h 1400175"/>
              <a:gd name="connsiteX4" fmla="*/ 301625 w 301625"/>
              <a:gd name="connsiteY4" fmla="*/ 1400175 h 1400175"/>
              <a:gd name="connsiteX0" fmla="*/ 2824 w 301625"/>
              <a:gd name="connsiteY0" fmla="*/ 0 h 1019337"/>
              <a:gd name="connsiteX1" fmla="*/ 0 w 301625"/>
              <a:gd name="connsiteY1" fmla="*/ 530387 h 1019337"/>
              <a:gd name="connsiteX2" fmla="*/ 298450 w 301625"/>
              <a:gd name="connsiteY2" fmla="*/ 828837 h 1019337"/>
              <a:gd name="connsiteX3" fmla="*/ 301625 w 301625"/>
              <a:gd name="connsiteY3" fmla="*/ 1019337 h 1019337"/>
            </a:gdLst>
            <a:ahLst/>
            <a:cxnLst>
              <a:cxn ang="0">
                <a:pos x="connsiteX0" y="connsiteY0"/>
              </a:cxn>
              <a:cxn ang="0">
                <a:pos x="connsiteX1" y="connsiteY1"/>
              </a:cxn>
              <a:cxn ang="0">
                <a:pos x="connsiteX2" y="connsiteY2"/>
              </a:cxn>
              <a:cxn ang="0">
                <a:pos x="connsiteX3" y="connsiteY3"/>
              </a:cxn>
            </a:cxnLst>
            <a:rect l="l" t="t" r="r" b="b"/>
            <a:pathLst>
              <a:path w="301625" h="1019337">
                <a:moveTo>
                  <a:pt x="2824" y="0"/>
                </a:moveTo>
                <a:cubicBezTo>
                  <a:pt x="1883" y="176796"/>
                  <a:pt x="941" y="353591"/>
                  <a:pt x="0" y="530387"/>
                </a:cubicBezTo>
                <a:lnTo>
                  <a:pt x="298450" y="828837"/>
                </a:lnTo>
                <a:cubicBezTo>
                  <a:pt x="299508" y="870112"/>
                  <a:pt x="300567" y="978062"/>
                  <a:pt x="301625" y="1019337"/>
                </a:cubicBez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7" name="Freeform 836"/>
          <p:cNvSpPr/>
          <p:nvPr/>
        </p:nvSpPr>
        <p:spPr>
          <a:xfrm rot="18900000">
            <a:off x="2706353" y="2453367"/>
            <a:ext cx="307786" cy="1290541"/>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298450 w 533400"/>
              <a:gd name="connsiteY4" fmla="*/ 2012950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177800 w 533400"/>
              <a:gd name="connsiteY5" fmla="*/ 2143124 h 2159000"/>
              <a:gd name="connsiteX6" fmla="*/ 53975 w 533400"/>
              <a:gd name="connsiteY6" fmla="*/ 2159000 h 2159000"/>
              <a:gd name="connsiteX0" fmla="*/ 533400 w 533400"/>
              <a:gd name="connsiteY0" fmla="*/ 0 h 2174874"/>
              <a:gd name="connsiteX1" fmla="*/ 0 w 533400"/>
              <a:gd name="connsiteY1" fmla="*/ 539750 h 2174874"/>
              <a:gd name="connsiteX2" fmla="*/ 0 w 533400"/>
              <a:gd name="connsiteY2" fmla="*/ 1450975 h 2174874"/>
              <a:gd name="connsiteX3" fmla="*/ 298450 w 533400"/>
              <a:gd name="connsiteY3" fmla="*/ 1749425 h 2174874"/>
              <a:gd name="connsiteX4" fmla="*/ 301625 w 533400"/>
              <a:gd name="connsiteY4" fmla="*/ 2130425 h 2174874"/>
              <a:gd name="connsiteX5" fmla="*/ 257175 w 533400"/>
              <a:gd name="connsiteY5" fmla="*/ 2174874 h 2174874"/>
              <a:gd name="connsiteX6" fmla="*/ 53975 w 533400"/>
              <a:gd name="connsiteY6" fmla="*/ 2159000 h 2174874"/>
              <a:gd name="connsiteX0" fmla="*/ 533400 w 533400"/>
              <a:gd name="connsiteY0" fmla="*/ 0 h 2181225"/>
              <a:gd name="connsiteX1" fmla="*/ 0 w 533400"/>
              <a:gd name="connsiteY1" fmla="*/ 539750 h 2181225"/>
              <a:gd name="connsiteX2" fmla="*/ 0 w 533400"/>
              <a:gd name="connsiteY2" fmla="*/ 1450975 h 2181225"/>
              <a:gd name="connsiteX3" fmla="*/ 298450 w 533400"/>
              <a:gd name="connsiteY3" fmla="*/ 1749425 h 2181225"/>
              <a:gd name="connsiteX4" fmla="*/ 301625 w 533400"/>
              <a:gd name="connsiteY4" fmla="*/ 2130425 h 2181225"/>
              <a:gd name="connsiteX5" fmla="*/ 257175 w 533400"/>
              <a:gd name="connsiteY5" fmla="*/ 2174874 h 2181225"/>
              <a:gd name="connsiteX6" fmla="*/ 50800 w 533400"/>
              <a:gd name="connsiteY6" fmla="*/ 2181225 h 2181225"/>
              <a:gd name="connsiteX0" fmla="*/ 0 w 301625"/>
              <a:gd name="connsiteY0" fmla="*/ 0 h 1641475"/>
              <a:gd name="connsiteX1" fmla="*/ 0 w 301625"/>
              <a:gd name="connsiteY1" fmla="*/ 911225 h 1641475"/>
              <a:gd name="connsiteX2" fmla="*/ 298450 w 301625"/>
              <a:gd name="connsiteY2" fmla="*/ 1209675 h 1641475"/>
              <a:gd name="connsiteX3" fmla="*/ 301625 w 301625"/>
              <a:gd name="connsiteY3" fmla="*/ 1590675 h 1641475"/>
              <a:gd name="connsiteX4" fmla="*/ 257175 w 301625"/>
              <a:gd name="connsiteY4" fmla="*/ 1635124 h 1641475"/>
              <a:gd name="connsiteX5" fmla="*/ 50800 w 301625"/>
              <a:gd name="connsiteY5" fmla="*/ 1641475 h 1641475"/>
              <a:gd name="connsiteX0" fmla="*/ 153 w 301778"/>
              <a:gd name="connsiteY0" fmla="*/ 0 h 1641475"/>
              <a:gd name="connsiteX1" fmla="*/ 0 w 301778"/>
              <a:gd name="connsiteY1" fmla="*/ 376124 h 1641475"/>
              <a:gd name="connsiteX2" fmla="*/ 153 w 301778"/>
              <a:gd name="connsiteY2" fmla="*/ 911225 h 1641475"/>
              <a:gd name="connsiteX3" fmla="*/ 298603 w 301778"/>
              <a:gd name="connsiteY3" fmla="*/ 1209675 h 1641475"/>
              <a:gd name="connsiteX4" fmla="*/ 301778 w 301778"/>
              <a:gd name="connsiteY4" fmla="*/ 1590675 h 1641475"/>
              <a:gd name="connsiteX5" fmla="*/ 257328 w 301778"/>
              <a:gd name="connsiteY5" fmla="*/ 1635124 h 1641475"/>
              <a:gd name="connsiteX6" fmla="*/ 50953 w 301778"/>
              <a:gd name="connsiteY6" fmla="*/ 1641475 h 1641475"/>
              <a:gd name="connsiteX0" fmla="*/ 0 w 301778"/>
              <a:gd name="connsiteY0" fmla="*/ 0 h 1265351"/>
              <a:gd name="connsiteX1" fmla="*/ 153 w 301778"/>
              <a:gd name="connsiteY1" fmla="*/ 535101 h 1265351"/>
              <a:gd name="connsiteX2" fmla="*/ 298603 w 301778"/>
              <a:gd name="connsiteY2" fmla="*/ 833551 h 1265351"/>
              <a:gd name="connsiteX3" fmla="*/ 301778 w 301778"/>
              <a:gd name="connsiteY3" fmla="*/ 1214551 h 1265351"/>
              <a:gd name="connsiteX4" fmla="*/ 257328 w 301778"/>
              <a:gd name="connsiteY4" fmla="*/ 1259000 h 1265351"/>
              <a:gd name="connsiteX5" fmla="*/ 50953 w 301778"/>
              <a:gd name="connsiteY5" fmla="*/ 1265351 h 1265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1778" h="1265351">
                <a:moveTo>
                  <a:pt x="0" y="0"/>
                </a:moveTo>
                <a:lnTo>
                  <a:pt x="153" y="535101"/>
                </a:lnTo>
                <a:lnTo>
                  <a:pt x="298603" y="833551"/>
                </a:lnTo>
                <a:cubicBezTo>
                  <a:pt x="299661" y="960551"/>
                  <a:pt x="300720" y="1087551"/>
                  <a:pt x="301778" y="1214551"/>
                </a:cubicBezTo>
                <a:lnTo>
                  <a:pt x="257328" y="1259000"/>
                </a:lnTo>
                <a:lnTo>
                  <a:pt x="50953" y="126535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42" name="Freeform 841"/>
          <p:cNvSpPr/>
          <p:nvPr/>
        </p:nvSpPr>
        <p:spPr>
          <a:xfrm rot="18900000">
            <a:off x="2705312" y="2275062"/>
            <a:ext cx="529446" cy="1222392"/>
          </a:xfrm>
          <a:custGeom>
            <a:avLst/>
            <a:gdLst>
              <a:gd name="connsiteX0" fmla="*/ 695325 w 695325"/>
              <a:gd name="connsiteY0" fmla="*/ 0 h 2100263"/>
              <a:gd name="connsiteX1" fmla="*/ 0 w 695325"/>
              <a:gd name="connsiteY1" fmla="*/ 695325 h 2100263"/>
              <a:gd name="connsiteX2" fmla="*/ 0 w 695325"/>
              <a:gd name="connsiteY2" fmla="*/ 1419225 h 2100263"/>
              <a:gd name="connsiteX3" fmla="*/ 471487 w 695325"/>
              <a:gd name="connsiteY3" fmla="*/ 1881188 h 2100263"/>
              <a:gd name="connsiteX4" fmla="*/ 471487 w 695325"/>
              <a:gd name="connsiteY4" fmla="*/ 2043113 h 2100263"/>
              <a:gd name="connsiteX5" fmla="*/ 519112 w 695325"/>
              <a:gd name="connsiteY5" fmla="*/ 2100263 h 2100263"/>
              <a:gd name="connsiteX0" fmla="*/ 695325 w 695325"/>
              <a:gd name="connsiteY0" fmla="*/ 0 h 2100263"/>
              <a:gd name="connsiteX1" fmla="*/ 0 w 695325"/>
              <a:gd name="connsiteY1" fmla="*/ 695325 h 2100263"/>
              <a:gd name="connsiteX2" fmla="*/ 9233 w 695325"/>
              <a:gd name="connsiteY2" fmla="*/ 901731 h 2100263"/>
              <a:gd name="connsiteX3" fmla="*/ 0 w 695325"/>
              <a:gd name="connsiteY3" fmla="*/ 1419225 h 2100263"/>
              <a:gd name="connsiteX4" fmla="*/ 471487 w 695325"/>
              <a:gd name="connsiteY4" fmla="*/ 1881188 h 2100263"/>
              <a:gd name="connsiteX5" fmla="*/ 471487 w 695325"/>
              <a:gd name="connsiteY5" fmla="*/ 2043113 h 2100263"/>
              <a:gd name="connsiteX6" fmla="*/ 519112 w 695325"/>
              <a:gd name="connsiteY6" fmla="*/ 2100263 h 2100263"/>
              <a:gd name="connsiteX0" fmla="*/ 0 w 519112"/>
              <a:gd name="connsiteY0" fmla="*/ 0 h 1404938"/>
              <a:gd name="connsiteX1" fmla="*/ 9233 w 519112"/>
              <a:gd name="connsiteY1" fmla="*/ 206406 h 1404938"/>
              <a:gd name="connsiteX2" fmla="*/ 0 w 519112"/>
              <a:gd name="connsiteY2" fmla="*/ 723900 h 1404938"/>
              <a:gd name="connsiteX3" fmla="*/ 471487 w 519112"/>
              <a:gd name="connsiteY3" fmla="*/ 1185863 h 1404938"/>
              <a:gd name="connsiteX4" fmla="*/ 471487 w 519112"/>
              <a:gd name="connsiteY4" fmla="*/ 1347788 h 1404938"/>
              <a:gd name="connsiteX5" fmla="*/ 519112 w 519112"/>
              <a:gd name="connsiteY5" fmla="*/ 1404938 h 1404938"/>
              <a:gd name="connsiteX0" fmla="*/ 9233 w 519112"/>
              <a:gd name="connsiteY0" fmla="*/ 0 h 1198532"/>
              <a:gd name="connsiteX1" fmla="*/ 0 w 519112"/>
              <a:gd name="connsiteY1" fmla="*/ 517494 h 1198532"/>
              <a:gd name="connsiteX2" fmla="*/ 471487 w 519112"/>
              <a:gd name="connsiteY2" fmla="*/ 979457 h 1198532"/>
              <a:gd name="connsiteX3" fmla="*/ 471487 w 519112"/>
              <a:gd name="connsiteY3" fmla="*/ 1141382 h 1198532"/>
              <a:gd name="connsiteX4" fmla="*/ 519112 w 519112"/>
              <a:gd name="connsiteY4" fmla="*/ 1198532 h 1198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112" h="1198532">
                <a:moveTo>
                  <a:pt x="9233" y="0"/>
                </a:moveTo>
                <a:lnTo>
                  <a:pt x="0" y="517494"/>
                </a:lnTo>
                <a:lnTo>
                  <a:pt x="471487" y="979457"/>
                </a:lnTo>
                <a:lnTo>
                  <a:pt x="471487" y="1141382"/>
                </a:lnTo>
                <a:lnTo>
                  <a:pt x="519112" y="119853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58" name="Freeform 457"/>
          <p:cNvSpPr/>
          <p:nvPr/>
        </p:nvSpPr>
        <p:spPr>
          <a:xfrm rot="8100000" flipV="1">
            <a:off x="4273849" y="-477648"/>
            <a:ext cx="835457" cy="3089249"/>
          </a:xfrm>
          <a:custGeom>
            <a:avLst/>
            <a:gdLst>
              <a:gd name="connsiteX0" fmla="*/ 819150 w 819150"/>
              <a:gd name="connsiteY0" fmla="*/ 0 h 3028950"/>
              <a:gd name="connsiteX1" fmla="*/ 19050 w 819150"/>
              <a:gd name="connsiteY1" fmla="*/ 806450 h 3028950"/>
              <a:gd name="connsiteX2" fmla="*/ 19050 w 819150"/>
              <a:gd name="connsiteY2" fmla="*/ 1219200 h 3028950"/>
              <a:gd name="connsiteX3" fmla="*/ 723900 w 819150"/>
              <a:gd name="connsiteY3" fmla="*/ 1924050 h 3028950"/>
              <a:gd name="connsiteX4" fmla="*/ 723900 w 819150"/>
              <a:gd name="connsiteY4" fmla="*/ 2095500 h 3028950"/>
              <a:gd name="connsiteX5" fmla="*/ 184150 w 819150"/>
              <a:gd name="connsiteY5" fmla="*/ 2635250 h 3028950"/>
              <a:gd name="connsiteX6" fmla="*/ 184150 w 819150"/>
              <a:gd name="connsiteY6" fmla="*/ 2844800 h 3028950"/>
              <a:gd name="connsiteX7" fmla="*/ 0 w 819150"/>
              <a:gd name="connsiteY7" fmla="*/ 3028950 h 302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9150" h="3028950">
                <a:moveTo>
                  <a:pt x="819150" y="0"/>
                </a:moveTo>
                <a:lnTo>
                  <a:pt x="19050" y="806450"/>
                </a:lnTo>
                <a:lnTo>
                  <a:pt x="19050" y="1219200"/>
                </a:lnTo>
                <a:lnTo>
                  <a:pt x="723900" y="1924050"/>
                </a:lnTo>
                <a:lnTo>
                  <a:pt x="723900" y="2095500"/>
                </a:lnTo>
                <a:lnTo>
                  <a:pt x="184150" y="2635250"/>
                </a:lnTo>
                <a:lnTo>
                  <a:pt x="184150" y="2844800"/>
                </a:lnTo>
                <a:lnTo>
                  <a:pt x="0" y="302895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59" name="Freeform 458"/>
          <p:cNvSpPr/>
          <p:nvPr/>
        </p:nvSpPr>
        <p:spPr>
          <a:xfrm rot="8100000" flipV="1">
            <a:off x="3532685" y="-107838"/>
            <a:ext cx="783646" cy="1126896"/>
          </a:xfrm>
          <a:custGeom>
            <a:avLst/>
            <a:gdLst>
              <a:gd name="connsiteX0" fmla="*/ 768350 w 768350"/>
              <a:gd name="connsiteY0" fmla="*/ 0 h 1104900"/>
              <a:gd name="connsiteX1" fmla="*/ 0 w 768350"/>
              <a:gd name="connsiteY1" fmla="*/ 768350 h 1104900"/>
              <a:gd name="connsiteX2" fmla="*/ 0 w 768350"/>
              <a:gd name="connsiteY2" fmla="*/ 946150 h 1104900"/>
              <a:gd name="connsiteX3" fmla="*/ 69850 w 768350"/>
              <a:gd name="connsiteY3" fmla="*/ 1016000 h 1104900"/>
              <a:gd name="connsiteX4" fmla="*/ 69850 w 768350"/>
              <a:gd name="connsiteY4" fmla="*/ 1104900 h 1104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8350" h="1104900">
                <a:moveTo>
                  <a:pt x="768350" y="0"/>
                </a:moveTo>
                <a:lnTo>
                  <a:pt x="0" y="768350"/>
                </a:lnTo>
                <a:lnTo>
                  <a:pt x="0" y="946150"/>
                </a:lnTo>
                <a:lnTo>
                  <a:pt x="69850" y="1016000"/>
                </a:lnTo>
                <a:lnTo>
                  <a:pt x="69850" y="110490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0" name="Freeform 459"/>
          <p:cNvSpPr/>
          <p:nvPr/>
        </p:nvSpPr>
        <p:spPr>
          <a:xfrm rot="8100000" flipV="1">
            <a:off x="2912641" y="-245750"/>
            <a:ext cx="1301051" cy="1750170"/>
          </a:xfrm>
          <a:custGeom>
            <a:avLst/>
            <a:gdLst>
              <a:gd name="connsiteX0" fmla="*/ 774700 w 774700"/>
              <a:gd name="connsiteY0" fmla="*/ 0 h 1308100"/>
              <a:gd name="connsiteX1" fmla="*/ 0 w 774700"/>
              <a:gd name="connsiteY1" fmla="*/ 774700 h 1308100"/>
              <a:gd name="connsiteX2" fmla="*/ 0 w 774700"/>
              <a:gd name="connsiteY2" fmla="*/ 939800 h 1308100"/>
              <a:gd name="connsiteX3" fmla="*/ 146050 w 774700"/>
              <a:gd name="connsiteY3" fmla="*/ 1085850 h 1308100"/>
              <a:gd name="connsiteX4" fmla="*/ 146050 w 774700"/>
              <a:gd name="connsiteY4" fmla="*/ 1162050 h 1308100"/>
              <a:gd name="connsiteX5" fmla="*/ 63500 w 774700"/>
              <a:gd name="connsiteY5" fmla="*/ 1244600 h 1308100"/>
              <a:gd name="connsiteX6" fmla="*/ 63500 w 774700"/>
              <a:gd name="connsiteY6" fmla="*/ 1308100 h 1308100"/>
              <a:gd name="connsiteX0" fmla="*/ 1545206 w 1545206"/>
              <a:gd name="connsiteY0" fmla="*/ 0 h 2078606"/>
              <a:gd name="connsiteX1" fmla="*/ 0 w 1545206"/>
              <a:gd name="connsiteY1" fmla="*/ 1545206 h 2078606"/>
              <a:gd name="connsiteX2" fmla="*/ 0 w 1545206"/>
              <a:gd name="connsiteY2" fmla="*/ 1710306 h 2078606"/>
              <a:gd name="connsiteX3" fmla="*/ 146050 w 1545206"/>
              <a:gd name="connsiteY3" fmla="*/ 1856356 h 2078606"/>
              <a:gd name="connsiteX4" fmla="*/ 146050 w 1545206"/>
              <a:gd name="connsiteY4" fmla="*/ 1932556 h 2078606"/>
              <a:gd name="connsiteX5" fmla="*/ 63500 w 1545206"/>
              <a:gd name="connsiteY5" fmla="*/ 2015106 h 2078606"/>
              <a:gd name="connsiteX6" fmla="*/ 63500 w 1545206"/>
              <a:gd name="connsiteY6" fmla="*/ 2078606 h 20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206" h="2078606">
                <a:moveTo>
                  <a:pt x="1545206" y="0"/>
                </a:moveTo>
                <a:lnTo>
                  <a:pt x="0" y="1545206"/>
                </a:lnTo>
                <a:lnTo>
                  <a:pt x="0" y="1710306"/>
                </a:lnTo>
                <a:lnTo>
                  <a:pt x="146050" y="1856356"/>
                </a:lnTo>
                <a:lnTo>
                  <a:pt x="146050" y="1932556"/>
                </a:lnTo>
                <a:lnTo>
                  <a:pt x="63500" y="2015106"/>
                </a:lnTo>
                <a:lnTo>
                  <a:pt x="63500" y="2078606"/>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1" name="Freeform 460"/>
          <p:cNvSpPr/>
          <p:nvPr/>
        </p:nvSpPr>
        <p:spPr>
          <a:xfrm rot="8100000" flipV="1">
            <a:off x="3487937" y="-296281"/>
            <a:ext cx="1335062" cy="3372781"/>
          </a:xfrm>
          <a:custGeom>
            <a:avLst/>
            <a:gdLst>
              <a:gd name="connsiteX0" fmla="*/ 736600 w 736600"/>
              <a:gd name="connsiteY0" fmla="*/ 0 h 2965450"/>
              <a:gd name="connsiteX1" fmla="*/ 63500 w 736600"/>
              <a:gd name="connsiteY1" fmla="*/ 673100 h 2965450"/>
              <a:gd name="connsiteX2" fmla="*/ 63500 w 736600"/>
              <a:gd name="connsiteY2" fmla="*/ 749300 h 2965450"/>
              <a:gd name="connsiteX3" fmla="*/ 146050 w 736600"/>
              <a:gd name="connsiteY3" fmla="*/ 831850 h 2965450"/>
              <a:gd name="connsiteX4" fmla="*/ 323850 w 736600"/>
              <a:gd name="connsiteY4" fmla="*/ 831850 h 2965450"/>
              <a:gd name="connsiteX5" fmla="*/ 438150 w 736600"/>
              <a:gd name="connsiteY5" fmla="*/ 946150 h 2965450"/>
              <a:gd name="connsiteX6" fmla="*/ 438150 w 736600"/>
              <a:gd name="connsiteY6" fmla="*/ 1066800 h 2965450"/>
              <a:gd name="connsiteX7" fmla="*/ 260350 w 736600"/>
              <a:gd name="connsiteY7" fmla="*/ 1244600 h 2965450"/>
              <a:gd name="connsiteX8" fmla="*/ 260350 w 736600"/>
              <a:gd name="connsiteY8" fmla="*/ 1346200 h 2965450"/>
              <a:gd name="connsiteX9" fmla="*/ 311150 w 736600"/>
              <a:gd name="connsiteY9" fmla="*/ 1397000 h 2965450"/>
              <a:gd name="connsiteX10" fmla="*/ 311150 w 736600"/>
              <a:gd name="connsiteY10" fmla="*/ 1479550 h 2965450"/>
              <a:gd name="connsiteX11" fmla="*/ 311150 w 736600"/>
              <a:gd name="connsiteY11" fmla="*/ 1638300 h 2965450"/>
              <a:gd name="connsiteX12" fmla="*/ 546100 w 736600"/>
              <a:gd name="connsiteY12" fmla="*/ 1873250 h 2965450"/>
              <a:gd name="connsiteX13" fmla="*/ 546100 w 736600"/>
              <a:gd name="connsiteY13" fmla="*/ 2146300 h 2965450"/>
              <a:gd name="connsiteX14" fmla="*/ 0 w 736600"/>
              <a:gd name="connsiteY14" fmla="*/ 2692400 h 2965450"/>
              <a:gd name="connsiteX15" fmla="*/ 0 w 736600"/>
              <a:gd name="connsiteY15" fmla="*/ 2965450 h 2965450"/>
              <a:gd name="connsiteX0" fmla="*/ 1453225 w 1453225"/>
              <a:gd name="connsiteY0" fmla="*/ 0 h 3671298"/>
              <a:gd name="connsiteX1" fmla="*/ 63500 w 1453225"/>
              <a:gd name="connsiteY1" fmla="*/ 1378948 h 3671298"/>
              <a:gd name="connsiteX2" fmla="*/ 63500 w 1453225"/>
              <a:gd name="connsiteY2" fmla="*/ 1455148 h 3671298"/>
              <a:gd name="connsiteX3" fmla="*/ 146050 w 1453225"/>
              <a:gd name="connsiteY3" fmla="*/ 1537698 h 3671298"/>
              <a:gd name="connsiteX4" fmla="*/ 323850 w 1453225"/>
              <a:gd name="connsiteY4" fmla="*/ 1537698 h 3671298"/>
              <a:gd name="connsiteX5" fmla="*/ 438150 w 1453225"/>
              <a:gd name="connsiteY5" fmla="*/ 1651998 h 3671298"/>
              <a:gd name="connsiteX6" fmla="*/ 438150 w 1453225"/>
              <a:gd name="connsiteY6" fmla="*/ 1772648 h 3671298"/>
              <a:gd name="connsiteX7" fmla="*/ 260350 w 1453225"/>
              <a:gd name="connsiteY7" fmla="*/ 1950448 h 3671298"/>
              <a:gd name="connsiteX8" fmla="*/ 260350 w 1453225"/>
              <a:gd name="connsiteY8" fmla="*/ 2052048 h 3671298"/>
              <a:gd name="connsiteX9" fmla="*/ 311150 w 1453225"/>
              <a:gd name="connsiteY9" fmla="*/ 2102848 h 3671298"/>
              <a:gd name="connsiteX10" fmla="*/ 311150 w 1453225"/>
              <a:gd name="connsiteY10" fmla="*/ 2185398 h 3671298"/>
              <a:gd name="connsiteX11" fmla="*/ 311150 w 1453225"/>
              <a:gd name="connsiteY11" fmla="*/ 2344148 h 3671298"/>
              <a:gd name="connsiteX12" fmla="*/ 546100 w 1453225"/>
              <a:gd name="connsiteY12" fmla="*/ 2579098 h 3671298"/>
              <a:gd name="connsiteX13" fmla="*/ 546100 w 1453225"/>
              <a:gd name="connsiteY13" fmla="*/ 2852148 h 3671298"/>
              <a:gd name="connsiteX14" fmla="*/ 0 w 1453225"/>
              <a:gd name="connsiteY14" fmla="*/ 3398248 h 3671298"/>
              <a:gd name="connsiteX15" fmla="*/ 0 w 1453225"/>
              <a:gd name="connsiteY15" fmla="*/ 3671298 h 3671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53225" h="3671298">
                <a:moveTo>
                  <a:pt x="1453225" y="0"/>
                </a:moveTo>
                <a:lnTo>
                  <a:pt x="63500" y="1378948"/>
                </a:lnTo>
                <a:lnTo>
                  <a:pt x="63500" y="1455148"/>
                </a:lnTo>
                <a:lnTo>
                  <a:pt x="146050" y="1537698"/>
                </a:lnTo>
                <a:lnTo>
                  <a:pt x="323850" y="1537698"/>
                </a:lnTo>
                <a:lnTo>
                  <a:pt x="438150" y="1651998"/>
                </a:lnTo>
                <a:lnTo>
                  <a:pt x="438150" y="1772648"/>
                </a:lnTo>
                <a:lnTo>
                  <a:pt x="260350" y="1950448"/>
                </a:lnTo>
                <a:lnTo>
                  <a:pt x="260350" y="2052048"/>
                </a:lnTo>
                <a:lnTo>
                  <a:pt x="311150" y="2102848"/>
                </a:lnTo>
                <a:lnTo>
                  <a:pt x="311150" y="2185398"/>
                </a:lnTo>
                <a:lnTo>
                  <a:pt x="311150" y="2344148"/>
                </a:lnTo>
                <a:lnTo>
                  <a:pt x="546100" y="2579098"/>
                </a:lnTo>
                <a:lnTo>
                  <a:pt x="546100" y="2852148"/>
                </a:lnTo>
                <a:lnTo>
                  <a:pt x="0" y="3398248"/>
                </a:lnTo>
                <a:lnTo>
                  <a:pt x="0" y="36712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2" name="Freeform 461"/>
          <p:cNvSpPr/>
          <p:nvPr/>
        </p:nvSpPr>
        <p:spPr>
          <a:xfrm rot="8100000" flipV="1">
            <a:off x="6045881" y="2197642"/>
            <a:ext cx="1176135" cy="1375285"/>
          </a:xfrm>
          <a:custGeom>
            <a:avLst/>
            <a:gdLst>
              <a:gd name="connsiteX0" fmla="*/ 614363 w 614363"/>
              <a:gd name="connsiteY0" fmla="*/ 0 h 809625"/>
              <a:gd name="connsiteX1" fmla="*/ 0 w 614363"/>
              <a:gd name="connsiteY1" fmla="*/ 614363 h 809625"/>
              <a:gd name="connsiteX2" fmla="*/ 0 w 614363"/>
              <a:gd name="connsiteY2" fmla="*/ 809625 h 809625"/>
              <a:gd name="connsiteX0" fmla="*/ 1147790 w 1147790"/>
              <a:gd name="connsiteY0" fmla="*/ 0 h 1332276"/>
              <a:gd name="connsiteX1" fmla="*/ 0 w 1147790"/>
              <a:gd name="connsiteY1" fmla="*/ 1137014 h 1332276"/>
              <a:gd name="connsiteX2" fmla="*/ 0 w 1147790"/>
              <a:gd name="connsiteY2" fmla="*/ 1332276 h 1332276"/>
              <a:gd name="connsiteX0" fmla="*/ 1153178 w 1153178"/>
              <a:gd name="connsiteY0" fmla="*/ 0 h 1348441"/>
              <a:gd name="connsiteX1" fmla="*/ 0 w 1153178"/>
              <a:gd name="connsiteY1" fmla="*/ 1153179 h 1348441"/>
              <a:gd name="connsiteX2" fmla="*/ 0 w 1153178"/>
              <a:gd name="connsiteY2" fmla="*/ 1348441 h 1348441"/>
            </a:gdLst>
            <a:ahLst/>
            <a:cxnLst>
              <a:cxn ang="0">
                <a:pos x="connsiteX0" y="connsiteY0"/>
              </a:cxn>
              <a:cxn ang="0">
                <a:pos x="connsiteX1" y="connsiteY1"/>
              </a:cxn>
              <a:cxn ang="0">
                <a:pos x="connsiteX2" y="connsiteY2"/>
              </a:cxn>
            </a:cxnLst>
            <a:rect l="l" t="t" r="r" b="b"/>
            <a:pathLst>
              <a:path w="1153178" h="1348441">
                <a:moveTo>
                  <a:pt x="1153178" y="0"/>
                </a:moveTo>
                <a:lnTo>
                  <a:pt x="0" y="1153179"/>
                </a:lnTo>
                <a:lnTo>
                  <a:pt x="0" y="134844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3" name="Freeform 462"/>
          <p:cNvSpPr/>
          <p:nvPr/>
        </p:nvSpPr>
        <p:spPr>
          <a:xfrm rot="8100000" flipV="1">
            <a:off x="2543201" y="886433"/>
            <a:ext cx="1590554" cy="1085651"/>
          </a:xfrm>
          <a:custGeom>
            <a:avLst/>
            <a:gdLst>
              <a:gd name="connsiteX0" fmla="*/ 1804987 w 1804987"/>
              <a:gd name="connsiteY0" fmla="*/ 0 h 1309688"/>
              <a:gd name="connsiteX1" fmla="*/ 495299 w 1804987"/>
              <a:gd name="connsiteY1" fmla="*/ 1309688 h 1309688"/>
              <a:gd name="connsiteX2" fmla="*/ 319087 w 1804987"/>
              <a:gd name="connsiteY2" fmla="*/ 1309688 h 1309688"/>
              <a:gd name="connsiteX3" fmla="*/ 266700 w 1804987"/>
              <a:gd name="connsiteY3" fmla="*/ 1257301 h 1309688"/>
              <a:gd name="connsiteX4" fmla="*/ 0 w 1804987"/>
              <a:gd name="connsiteY4" fmla="*/ 1257301 h 1309688"/>
              <a:gd name="connsiteX0" fmla="*/ 1804987 w 1804987"/>
              <a:gd name="connsiteY0" fmla="*/ 0 h 1309688"/>
              <a:gd name="connsiteX1" fmla="*/ 1559508 w 1804987"/>
              <a:gd name="connsiteY1" fmla="*/ 245228 h 1309688"/>
              <a:gd name="connsiteX2" fmla="*/ 495299 w 1804987"/>
              <a:gd name="connsiteY2" fmla="*/ 1309688 h 1309688"/>
              <a:gd name="connsiteX3" fmla="*/ 319087 w 1804987"/>
              <a:gd name="connsiteY3" fmla="*/ 1309688 h 1309688"/>
              <a:gd name="connsiteX4" fmla="*/ 266700 w 1804987"/>
              <a:gd name="connsiteY4" fmla="*/ 1257301 h 1309688"/>
              <a:gd name="connsiteX5" fmla="*/ 0 w 1804987"/>
              <a:gd name="connsiteY5" fmla="*/ 1257301 h 1309688"/>
              <a:gd name="connsiteX0" fmla="*/ 1559508 w 1559508"/>
              <a:gd name="connsiteY0" fmla="*/ 0 h 1064460"/>
              <a:gd name="connsiteX1" fmla="*/ 495299 w 1559508"/>
              <a:gd name="connsiteY1" fmla="*/ 1064460 h 1064460"/>
              <a:gd name="connsiteX2" fmla="*/ 319087 w 1559508"/>
              <a:gd name="connsiteY2" fmla="*/ 1064460 h 1064460"/>
              <a:gd name="connsiteX3" fmla="*/ 266700 w 1559508"/>
              <a:gd name="connsiteY3" fmla="*/ 1012073 h 1064460"/>
              <a:gd name="connsiteX4" fmla="*/ 0 w 1559508"/>
              <a:gd name="connsiteY4" fmla="*/ 1012073 h 1064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9508" h="1064460">
                <a:moveTo>
                  <a:pt x="1559508" y="0"/>
                </a:moveTo>
                <a:lnTo>
                  <a:pt x="495299" y="1064460"/>
                </a:lnTo>
                <a:lnTo>
                  <a:pt x="319087" y="1064460"/>
                </a:lnTo>
                <a:lnTo>
                  <a:pt x="266700" y="1012073"/>
                </a:lnTo>
                <a:lnTo>
                  <a:pt x="0" y="101207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4" name="Freeform 463"/>
          <p:cNvSpPr/>
          <p:nvPr/>
        </p:nvSpPr>
        <p:spPr>
          <a:xfrm rot="8100000" flipV="1">
            <a:off x="2688484" y="945248"/>
            <a:ext cx="1517205" cy="1424972"/>
          </a:xfrm>
          <a:custGeom>
            <a:avLst/>
            <a:gdLst>
              <a:gd name="connsiteX0" fmla="*/ 1809750 w 1809750"/>
              <a:gd name="connsiteY0" fmla="*/ 0 h 1714500"/>
              <a:gd name="connsiteX1" fmla="*/ 433388 w 1809750"/>
              <a:gd name="connsiteY1" fmla="*/ 1376362 h 1714500"/>
              <a:gd name="connsiteX2" fmla="*/ 247650 w 1809750"/>
              <a:gd name="connsiteY2" fmla="*/ 1376362 h 1714500"/>
              <a:gd name="connsiteX3" fmla="*/ 0 w 1809750"/>
              <a:gd name="connsiteY3" fmla="*/ 1624012 h 1714500"/>
              <a:gd name="connsiteX4" fmla="*/ 0 w 1809750"/>
              <a:gd name="connsiteY4" fmla="*/ 1714500 h 1714500"/>
              <a:gd name="connsiteX0" fmla="*/ 1809750 w 1809750"/>
              <a:gd name="connsiteY0" fmla="*/ 0 h 1714500"/>
              <a:gd name="connsiteX1" fmla="*/ 1487591 w 1809750"/>
              <a:gd name="connsiteY1" fmla="*/ 317342 h 1714500"/>
              <a:gd name="connsiteX2" fmla="*/ 433388 w 1809750"/>
              <a:gd name="connsiteY2" fmla="*/ 1376362 h 1714500"/>
              <a:gd name="connsiteX3" fmla="*/ 247650 w 1809750"/>
              <a:gd name="connsiteY3" fmla="*/ 1376362 h 1714500"/>
              <a:gd name="connsiteX4" fmla="*/ 0 w 1809750"/>
              <a:gd name="connsiteY4" fmla="*/ 1624012 h 1714500"/>
              <a:gd name="connsiteX5" fmla="*/ 0 w 1809750"/>
              <a:gd name="connsiteY5" fmla="*/ 1714500 h 1714500"/>
              <a:gd name="connsiteX0" fmla="*/ 1487591 w 1487591"/>
              <a:gd name="connsiteY0" fmla="*/ 0 h 1397158"/>
              <a:gd name="connsiteX1" fmla="*/ 433388 w 1487591"/>
              <a:gd name="connsiteY1" fmla="*/ 1059020 h 1397158"/>
              <a:gd name="connsiteX2" fmla="*/ 247650 w 1487591"/>
              <a:gd name="connsiteY2" fmla="*/ 1059020 h 1397158"/>
              <a:gd name="connsiteX3" fmla="*/ 0 w 1487591"/>
              <a:gd name="connsiteY3" fmla="*/ 1306670 h 1397158"/>
              <a:gd name="connsiteX4" fmla="*/ 0 w 1487591"/>
              <a:gd name="connsiteY4" fmla="*/ 1397158 h 1397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7591" h="1397158">
                <a:moveTo>
                  <a:pt x="1487591" y="0"/>
                </a:moveTo>
                <a:lnTo>
                  <a:pt x="433388" y="1059020"/>
                </a:lnTo>
                <a:lnTo>
                  <a:pt x="247650" y="1059020"/>
                </a:lnTo>
                <a:lnTo>
                  <a:pt x="0" y="1306670"/>
                </a:lnTo>
                <a:lnTo>
                  <a:pt x="0" y="139715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5" name="Freeform 464"/>
          <p:cNvSpPr/>
          <p:nvPr/>
        </p:nvSpPr>
        <p:spPr>
          <a:xfrm rot="8100000" flipV="1">
            <a:off x="2766617" y="1138593"/>
            <a:ext cx="1502491" cy="1433794"/>
          </a:xfrm>
          <a:custGeom>
            <a:avLst/>
            <a:gdLst>
              <a:gd name="connsiteX0" fmla="*/ 1966913 w 1966913"/>
              <a:gd name="connsiteY0" fmla="*/ 0 h 1900238"/>
              <a:gd name="connsiteX1" fmla="*/ 66675 w 1966913"/>
              <a:gd name="connsiteY1" fmla="*/ 1900238 h 1900238"/>
              <a:gd name="connsiteX2" fmla="*/ 0 w 1966913"/>
              <a:gd name="connsiteY2" fmla="*/ 1900238 h 1900238"/>
              <a:gd name="connsiteX0" fmla="*/ 1966913 w 1966913"/>
              <a:gd name="connsiteY0" fmla="*/ 0 h 1900238"/>
              <a:gd name="connsiteX1" fmla="*/ 1473164 w 1966913"/>
              <a:gd name="connsiteY1" fmla="*/ 494430 h 1900238"/>
              <a:gd name="connsiteX2" fmla="*/ 66675 w 1966913"/>
              <a:gd name="connsiteY2" fmla="*/ 1900238 h 1900238"/>
              <a:gd name="connsiteX3" fmla="*/ 0 w 1966913"/>
              <a:gd name="connsiteY3" fmla="*/ 1900238 h 1900238"/>
              <a:gd name="connsiteX0" fmla="*/ 1473164 w 1473164"/>
              <a:gd name="connsiteY0" fmla="*/ 0 h 1405808"/>
              <a:gd name="connsiteX1" fmla="*/ 66675 w 1473164"/>
              <a:gd name="connsiteY1" fmla="*/ 1405808 h 1405808"/>
              <a:gd name="connsiteX2" fmla="*/ 0 w 1473164"/>
              <a:gd name="connsiteY2" fmla="*/ 1405808 h 1405808"/>
            </a:gdLst>
            <a:ahLst/>
            <a:cxnLst>
              <a:cxn ang="0">
                <a:pos x="connsiteX0" y="connsiteY0"/>
              </a:cxn>
              <a:cxn ang="0">
                <a:pos x="connsiteX1" y="connsiteY1"/>
              </a:cxn>
              <a:cxn ang="0">
                <a:pos x="connsiteX2" y="connsiteY2"/>
              </a:cxn>
            </a:cxnLst>
            <a:rect l="l" t="t" r="r" b="b"/>
            <a:pathLst>
              <a:path w="1473164" h="1405808">
                <a:moveTo>
                  <a:pt x="1473164" y="0"/>
                </a:moveTo>
                <a:lnTo>
                  <a:pt x="66675" y="1405808"/>
                </a:lnTo>
                <a:lnTo>
                  <a:pt x="0" y="140580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6" name="Freeform 465"/>
          <p:cNvSpPr/>
          <p:nvPr/>
        </p:nvSpPr>
        <p:spPr>
          <a:xfrm rot="8100000" flipV="1">
            <a:off x="3075753" y="574028"/>
            <a:ext cx="2697060" cy="2802963"/>
          </a:xfrm>
          <a:custGeom>
            <a:avLst/>
            <a:gdLst>
              <a:gd name="connsiteX0" fmla="*/ 2867025 w 2867025"/>
              <a:gd name="connsiteY0" fmla="*/ 0 h 3200400"/>
              <a:gd name="connsiteX1" fmla="*/ 909637 w 2867025"/>
              <a:gd name="connsiteY1" fmla="*/ 1957388 h 3200400"/>
              <a:gd name="connsiteX2" fmla="*/ 909637 w 2867025"/>
              <a:gd name="connsiteY2" fmla="*/ 2047875 h 3200400"/>
              <a:gd name="connsiteX3" fmla="*/ 271462 w 2867025"/>
              <a:gd name="connsiteY3" fmla="*/ 2686050 h 3200400"/>
              <a:gd name="connsiteX4" fmla="*/ 271462 w 2867025"/>
              <a:gd name="connsiteY4" fmla="*/ 2995613 h 3200400"/>
              <a:gd name="connsiteX5" fmla="*/ 66675 w 2867025"/>
              <a:gd name="connsiteY5" fmla="*/ 3200400 h 3200400"/>
              <a:gd name="connsiteX6" fmla="*/ 0 w 2867025"/>
              <a:gd name="connsiteY6" fmla="*/ 3200400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0 w 3163373"/>
              <a:gd name="connsiteY6" fmla="*/ 3159988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161376 w 3163373"/>
              <a:gd name="connsiteY6" fmla="*/ 3168674 h 3200400"/>
              <a:gd name="connsiteX7" fmla="*/ 0 w 3163373"/>
              <a:gd name="connsiteY7" fmla="*/ 3159988 h 3200400"/>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124332 w 3126329"/>
              <a:gd name="connsiteY6" fmla="*/ 3168674 h 3230707"/>
              <a:gd name="connsiteX7" fmla="*/ 0 w 3126329"/>
              <a:gd name="connsiteY7" fmla="*/ 3230707 h 3230707"/>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77186 w 3126329"/>
              <a:gd name="connsiteY6" fmla="*/ 3161939 h 3230707"/>
              <a:gd name="connsiteX7" fmla="*/ 0 w 3126329"/>
              <a:gd name="connsiteY7" fmla="*/ 3230707 h 3230707"/>
              <a:gd name="connsiteX0" fmla="*/ 3126329 w 3126329"/>
              <a:gd name="connsiteY0" fmla="*/ 0 h 3230707"/>
              <a:gd name="connsiteX1" fmla="*/ 2644417 w 3126329"/>
              <a:gd name="connsiteY1" fmla="*/ 482455 h 3230707"/>
              <a:gd name="connsiteX2" fmla="*/ 1168941 w 3126329"/>
              <a:gd name="connsiteY2" fmla="*/ 1957388 h 3230707"/>
              <a:gd name="connsiteX3" fmla="*/ 1168941 w 3126329"/>
              <a:gd name="connsiteY3" fmla="*/ 2047875 h 3230707"/>
              <a:gd name="connsiteX4" fmla="*/ 530766 w 3126329"/>
              <a:gd name="connsiteY4" fmla="*/ 2686050 h 3230707"/>
              <a:gd name="connsiteX5" fmla="*/ 530766 w 3126329"/>
              <a:gd name="connsiteY5" fmla="*/ 2995613 h 3230707"/>
              <a:gd name="connsiteX6" fmla="*/ 325979 w 3126329"/>
              <a:gd name="connsiteY6" fmla="*/ 3200400 h 3230707"/>
              <a:gd name="connsiteX7" fmla="*/ 77186 w 3126329"/>
              <a:gd name="connsiteY7" fmla="*/ 3161939 h 3230707"/>
              <a:gd name="connsiteX8" fmla="*/ 0 w 3126329"/>
              <a:gd name="connsiteY8" fmla="*/ 3230707 h 3230707"/>
              <a:gd name="connsiteX0" fmla="*/ 2644417 w 2644417"/>
              <a:gd name="connsiteY0" fmla="*/ 0 h 2748252"/>
              <a:gd name="connsiteX1" fmla="*/ 1168941 w 2644417"/>
              <a:gd name="connsiteY1" fmla="*/ 1474933 h 2748252"/>
              <a:gd name="connsiteX2" fmla="*/ 1168941 w 2644417"/>
              <a:gd name="connsiteY2" fmla="*/ 1565420 h 2748252"/>
              <a:gd name="connsiteX3" fmla="*/ 530766 w 2644417"/>
              <a:gd name="connsiteY3" fmla="*/ 2203595 h 2748252"/>
              <a:gd name="connsiteX4" fmla="*/ 530766 w 2644417"/>
              <a:gd name="connsiteY4" fmla="*/ 2513158 h 2748252"/>
              <a:gd name="connsiteX5" fmla="*/ 325979 w 2644417"/>
              <a:gd name="connsiteY5" fmla="*/ 2717945 h 2748252"/>
              <a:gd name="connsiteX6" fmla="*/ 77186 w 2644417"/>
              <a:gd name="connsiteY6" fmla="*/ 2679484 h 2748252"/>
              <a:gd name="connsiteX7" fmla="*/ 0 w 2644417"/>
              <a:gd name="connsiteY7" fmla="*/ 2748252 h 274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4417" h="2748252">
                <a:moveTo>
                  <a:pt x="2644417" y="0"/>
                </a:moveTo>
                <a:lnTo>
                  <a:pt x="1168941" y="1474933"/>
                </a:lnTo>
                <a:lnTo>
                  <a:pt x="1168941" y="1565420"/>
                </a:lnTo>
                <a:lnTo>
                  <a:pt x="530766" y="2203595"/>
                </a:lnTo>
                <a:lnTo>
                  <a:pt x="530766" y="2513158"/>
                </a:lnTo>
                <a:lnTo>
                  <a:pt x="325979" y="2717945"/>
                </a:lnTo>
                <a:lnTo>
                  <a:pt x="77186" y="2679484"/>
                </a:lnTo>
                <a:lnTo>
                  <a:pt x="0" y="2748252"/>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7" name="Freeform 466"/>
          <p:cNvSpPr/>
          <p:nvPr/>
        </p:nvSpPr>
        <p:spPr>
          <a:xfrm rot="8100000" flipV="1">
            <a:off x="3118091" y="626835"/>
            <a:ext cx="2615952" cy="2883625"/>
          </a:xfrm>
          <a:custGeom>
            <a:avLst/>
            <a:gdLst>
              <a:gd name="connsiteX0" fmla="*/ 2919413 w 2919413"/>
              <a:gd name="connsiteY0" fmla="*/ 0 h 3228975"/>
              <a:gd name="connsiteX1" fmla="*/ 1057275 w 2919413"/>
              <a:gd name="connsiteY1" fmla="*/ 1862138 h 3228975"/>
              <a:gd name="connsiteX2" fmla="*/ 1057275 w 2919413"/>
              <a:gd name="connsiteY2" fmla="*/ 1976438 h 3228975"/>
              <a:gd name="connsiteX3" fmla="*/ 466725 w 2919413"/>
              <a:gd name="connsiteY3" fmla="*/ 2566988 h 3228975"/>
              <a:gd name="connsiteX4" fmla="*/ 466725 w 2919413"/>
              <a:gd name="connsiteY4" fmla="*/ 2867025 h 3228975"/>
              <a:gd name="connsiteX5" fmla="*/ 104775 w 2919413"/>
              <a:gd name="connsiteY5" fmla="*/ 3228975 h 3228975"/>
              <a:gd name="connsiteX6" fmla="*/ 0 w 2919413"/>
              <a:gd name="connsiteY6" fmla="*/ 3228975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0 w 3070954"/>
              <a:gd name="connsiteY6" fmla="*/ 3218872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115526 w 3070954"/>
              <a:gd name="connsiteY6" fmla="*/ 3219863 h 3228975"/>
              <a:gd name="connsiteX7" fmla="*/ 0 w 3070954"/>
              <a:gd name="connsiteY7" fmla="*/ 3218872 h 3228975"/>
              <a:gd name="connsiteX0" fmla="*/ 3017073 w 3017073"/>
              <a:gd name="connsiteY0" fmla="*/ 0 h 3272753"/>
              <a:gd name="connsiteX1" fmla="*/ 1154935 w 3017073"/>
              <a:gd name="connsiteY1" fmla="*/ 1862138 h 3272753"/>
              <a:gd name="connsiteX2" fmla="*/ 1154935 w 3017073"/>
              <a:gd name="connsiteY2" fmla="*/ 1976438 h 3272753"/>
              <a:gd name="connsiteX3" fmla="*/ 564385 w 3017073"/>
              <a:gd name="connsiteY3" fmla="*/ 2566988 h 3272753"/>
              <a:gd name="connsiteX4" fmla="*/ 564385 w 3017073"/>
              <a:gd name="connsiteY4" fmla="*/ 2867025 h 3272753"/>
              <a:gd name="connsiteX5" fmla="*/ 202435 w 3017073"/>
              <a:gd name="connsiteY5" fmla="*/ 3228975 h 3272753"/>
              <a:gd name="connsiteX6" fmla="*/ 61645 w 3017073"/>
              <a:gd name="connsiteY6" fmla="*/ 3219863 h 3272753"/>
              <a:gd name="connsiteX7" fmla="*/ 0 w 3017073"/>
              <a:gd name="connsiteY7" fmla="*/ 3272753 h 3272753"/>
              <a:gd name="connsiteX0" fmla="*/ 3003603 w 3003603"/>
              <a:gd name="connsiteY0" fmla="*/ 0 h 3272753"/>
              <a:gd name="connsiteX1" fmla="*/ 1141465 w 3003603"/>
              <a:gd name="connsiteY1" fmla="*/ 1862138 h 3272753"/>
              <a:gd name="connsiteX2" fmla="*/ 1141465 w 3003603"/>
              <a:gd name="connsiteY2" fmla="*/ 1976438 h 3272753"/>
              <a:gd name="connsiteX3" fmla="*/ 550915 w 3003603"/>
              <a:gd name="connsiteY3" fmla="*/ 2566988 h 3272753"/>
              <a:gd name="connsiteX4" fmla="*/ 550915 w 3003603"/>
              <a:gd name="connsiteY4" fmla="*/ 2867025 h 3272753"/>
              <a:gd name="connsiteX5" fmla="*/ 188965 w 3003603"/>
              <a:gd name="connsiteY5" fmla="*/ 3228975 h 3272753"/>
              <a:gd name="connsiteX6" fmla="*/ 48175 w 3003603"/>
              <a:gd name="connsiteY6" fmla="*/ 3219863 h 3272753"/>
              <a:gd name="connsiteX7" fmla="*/ 0 w 3003603"/>
              <a:gd name="connsiteY7" fmla="*/ 3272753 h 3272753"/>
              <a:gd name="connsiteX0" fmla="*/ 3013706 w 3013706"/>
              <a:gd name="connsiteY0" fmla="*/ 0 h 3269385"/>
              <a:gd name="connsiteX1" fmla="*/ 1151568 w 3013706"/>
              <a:gd name="connsiteY1" fmla="*/ 1862138 h 3269385"/>
              <a:gd name="connsiteX2" fmla="*/ 1151568 w 3013706"/>
              <a:gd name="connsiteY2" fmla="*/ 1976438 h 3269385"/>
              <a:gd name="connsiteX3" fmla="*/ 561018 w 3013706"/>
              <a:gd name="connsiteY3" fmla="*/ 2566988 h 3269385"/>
              <a:gd name="connsiteX4" fmla="*/ 561018 w 3013706"/>
              <a:gd name="connsiteY4" fmla="*/ 2867025 h 3269385"/>
              <a:gd name="connsiteX5" fmla="*/ 199068 w 3013706"/>
              <a:gd name="connsiteY5" fmla="*/ 3228975 h 3269385"/>
              <a:gd name="connsiteX6" fmla="*/ 58278 w 3013706"/>
              <a:gd name="connsiteY6" fmla="*/ 3219863 h 3269385"/>
              <a:gd name="connsiteX7" fmla="*/ 0 w 3013706"/>
              <a:gd name="connsiteY7" fmla="*/ 3269385 h 3269385"/>
              <a:gd name="connsiteX0" fmla="*/ 3013706 w 3013706"/>
              <a:gd name="connsiteY0" fmla="*/ 0 h 3269385"/>
              <a:gd name="connsiteX1" fmla="*/ 2564892 w 3013706"/>
              <a:gd name="connsiteY1" fmla="*/ 442045 h 3269385"/>
              <a:gd name="connsiteX2" fmla="*/ 1151568 w 3013706"/>
              <a:gd name="connsiteY2" fmla="*/ 1862138 h 3269385"/>
              <a:gd name="connsiteX3" fmla="*/ 1151568 w 3013706"/>
              <a:gd name="connsiteY3" fmla="*/ 1976438 h 3269385"/>
              <a:gd name="connsiteX4" fmla="*/ 561018 w 3013706"/>
              <a:gd name="connsiteY4" fmla="*/ 2566988 h 3269385"/>
              <a:gd name="connsiteX5" fmla="*/ 561018 w 3013706"/>
              <a:gd name="connsiteY5" fmla="*/ 2867025 h 3269385"/>
              <a:gd name="connsiteX6" fmla="*/ 199068 w 3013706"/>
              <a:gd name="connsiteY6" fmla="*/ 3228975 h 3269385"/>
              <a:gd name="connsiteX7" fmla="*/ 58278 w 3013706"/>
              <a:gd name="connsiteY7" fmla="*/ 3219863 h 3269385"/>
              <a:gd name="connsiteX8" fmla="*/ 0 w 3013706"/>
              <a:gd name="connsiteY8" fmla="*/ 3269385 h 3269385"/>
              <a:gd name="connsiteX0" fmla="*/ 2564892 w 2564892"/>
              <a:gd name="connsiteY0" fmla="*/ 0 h 2827340"/>
              <a:gd name="connsiteX1" fmla="*/ 1151568 w 2564892"/>
              <a:gd name="connsiteY1" fmla="*/ 1420093 h 2827340"/>
              <a:gd name="connsiteX2" fmla="*/ 1151568 w 2564892"/>
              <a:gd name="connsiteY2" fmla="*/ 1534393 h 2827340"/>
              <a:gd name="connsiteX3" fmla="*/ 561018 w 2564892"/>
              <a:gd name="connsiteY3" fmla="*/ 2124943 h 2827340"/>
              <a:gd name="connsiteX4" fmla="*/ 561018 w 2564892"/>
              <a:gd name="connsiteY4" fmla="*/ 2424980 h 2827340"/>
              <a:gd name="connsiteX5" fmla="*/ 199068 w 2564892"/>
              <a:gd name="connsiteY5" fmla="*/ 2786930 h 2827340"/>
              <a:gd name="connsiteX6" fmla="*/ 58278 w 2564892"/>
              <a:gd name="connsiteY6" fmla="*/ 2777818 h 2827340"/>
              <a:gd name="connsiteX7" fmla="*/ 0 w 2564892"/>
              <a:gd name="connsiteY7" fmla="*/ 2827340 h 2827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4892" h="2827340">
                <a:moveTo>
                  <a:pt x="2564892" y="0"/>
                </a:moveTo>
                <a:lnTo>
                  <a:pt x="1151568" y="1420093"/>
                </a:lnTo>
                <a:lnTo>
                  <a:pt x="1151568" y="1534393"/>
                </a:lnTo>
                <a:lnTo>
                  <a:pt x="561018" y="2124943"/>
                </a:lnTo>
                <a:lnTo>
                  <a:pt x="561018" y="2424980"/>
                </a:lnTo>
                <a:lnTo>
                  <a:pt x="199068" y="2786930"/>
                </a:lnTo>
                <a:lnTo>
                  <a:pt x="58278" y="2777818"/>
                </a:lnTo>
                <a:lnTo>
                  <a:pt x="0" y="282734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8" name="Freeform 467"/>
          <p:cNvSpPr/>
          <p:nvPr/>
        </p:nvSpPr>
        <p:spPr>
          <a:xfrm rot="8100000" flipV="1">
            <a:off x="3146953" y="696373"/>
            <a:ext cx="2536712" cy="2951673"/>
          </a:xfrm>
          <a:custGeom>
            <a:avLst/>
            <a:gdLst>
              <a:gd name="connsiteX0" fmla="*/ 2895601 w 2895601"/>
              <a:gd name="connsiteY0" fmla="*/ 0 h 3305175"/>
              <a:gd name="connsiteX1" fmla="*/ 1081088 w 2895601"/>
              <a:gd name="connsiteY1" fmla="*/ 1814513 h 3305175"/>
              <a:gd name="connsiteX2" fmla="*/ 1081088 w 2895601"/>
              <a:gd name="connsiteY2" fmla="*/ 1947862 h 3305175"/>
              <a:gd name="connsiteX3" fmla="*/ 495300 w 2895601"/>
              <a:gd name="connsiteY3" fmla="*/ 2533650 h 3305175"/>
              <a:gd name="connsiteX4" fmla="*/ 495300 w 2895601"/>
              <a:gd name="connsiteY4" fmla="*/ 2809875 h 3305175"/>
              <a:gd name="connsiteX5" fmla="*/ 0 w 2895601"/>
              <a:gd name="connsiteY5" fmla="*/ 3305175 h 3305175"/>
              <a:gd name="connsiteX0" fmla="*/ 2895601 w 2895601"/>
              <a:gd name="connsiteY0" fmla="*/ 0 h 3305175"/>
              <a:gd name="connsiteX1" fmla="*/ 2487198 w 2895601"/>
              <a:gd name="connsiteY1" fmla="*/ 411115 h 3305175"/>
              <a:gd name="connsiteX2" fmla="*/ 1081088 w 2895601"/>
              <a:gd name="connsiteY2" fmla="*/ 1814513 h 3305175"/>
              <a:gd name="connsiteX3" fmla="*/ 1081088 w 2895601"/>
              <a:gd name="connsiteY3" fmla="*/ 1947862 h 3305175"/>
              <a:gd name="connsiteX4" fmla="*/ 495300 w 2895601"/>
              <a:gd name="connsiteY4" fmla="*/ 2533650 h 3305175"/>
              <a:gd name="connsiteX5" fmla="*/ 495300 w 2895601"/>
              <a:gd name="connsiteY5" fmla="*/ 2809875 h 3305175"/>
              <a:gd name="connsiteX6" fmla="*/ 0 w 2895601"/>
              <a:gd name="connsiteY6" fmla="*/ 3305175 h 3305175"/>
              <a:gd name="connsiteX0" fmla="*/ 2487198 w 2487198"/>
              <a:gd name="connsiteY0" fmla="*/ 0 h 2894060"/>
              <a:gd name="connsiteX1" fmla="*/ 1081088 w 2487198"/>
              <a:gd name="connsiteY1" fmla="*/ 1403398 h 2894060"/>
              <a:gd name="connsiteX2" fmla="*/ 1081088 w 2487198"/>
              <a:gd name="connsiteY2" fmla="*/ 1536747 h 2894060"/>
              <a:gd name="connsiteX3" fmla="*/ 495300 w 2487198"/>
              <a:gd name="connsiteY3" fmla="*/ 2122535 h 2894060"/>
              <a:gd name="connsiteX4" fmla="*/ 495300 w 2487198"/>
              <a:gd name="connsiteY4" fmla="*/ 2398760 h 2894060"/>
              <a:gd name="connsiteX5" fmla="*/ 0 w 2487198"/>
              <a:gd name="connsiteY5" fmla="*/ 2894060 h 2894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7198" h="2894060">
                <a:moveTo>
                  <a:pt x="2487198" y="0"/>
                </a:moveTo>
                <a:lnTo>
                  <a:pt x="1081088" y="1403398"/>
                </a:lnTo>
                <a:lnTo>
                  <a:pt x="1081088" y="1536747"/>
                </a:lnTo>
                <a:lnTo>
                  <a:pt x="495300" y="2122535"/>
                </a:lnTo>
                <a:lnTo>
                  <a:pt x="495300" y="2398760"/>
                </a:lnTo>
                <a:lnTo>
                  <a:pt x="0" y="289406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9" name="Freeform 468"/>
          <p:cNvSpPr/>
          <p:nvPr/>
        </p:nvSpPr>
        <p:spPr>
          <a:xfrm rot="8100000" flipV="1">
            <a:off x="3033507" y="1064242"/>
            <a:ext cx="1871848" cy="2293580"/>
          </a:xfrm>
          <a:custGeom>
            <a:avLst/>
            <a:gdLst>
              <a:gd name="connsiteX0" fmla="*/ 2238375 w 2238375"/>
              <a:gd name="connsiteY0" fmla="*/ 0 h 2647950"/>
              <a:gd name="connsiteX1" fmla="*/ 457200 w 2238375"/>
              <a:gd name="connsiteY1" fmla="*/ 1781175 h 2647950"/>
              <a:gd name="connsiteX2" fmla="*/ 457200 w 2238375"/>
              <a:gd name="connsiteY2" fmla="*/ 1928813 h 2647950"/>
              <a:gd name="connsiteX3" fmla="*/ 390525 w 2238375"/>
              <a:gd name="connsiteY3" fmla="*/ 1995488 h 2647950"/>
              <a:gd name="connsiteX4" fmla="*/ 390525 w 2238375"/>
              <a:gd name="connsiteY4" fmla="*/ 2219325 h 2647950"/>
              <a:gd name="connsiteX5" fmla="*/ 271463 w 2238375"/>
              <a:gd name="connsiteY5" fmla="*/ 2338387 h 2647950"/>
              <a:gd name="connsiteX6" fmla="*/ 190500 w 2238375"/>
              <a:gd name="connsiteY6" fmla="*/ 2338387 h 2647950"/>
              <a:gd name="connsiteX7" fmla="*/ 0 w 2238375"/>
              <a:gd name="connsiteY7" fmla="*/ 2528887 h 2647950"/>
              <a:gd name="connsiteX8" fmla="*/ 0 w 2238375"/>
              <a:gd name="connsiteY8" fmla="*/ 2647950 h 2647950"/>
              <a:gd name="connsiteX0" fmla="*/ 2238375 w 2238375"/>
              <a:gd name="connsiteY0" fmla="*/ 0 h 2647950"/>
              <a:gd name="connsiteX1" fmla="*/ 1835312 w 2238375"/>
              <a:gd name="connsiteY1" fmla="*/ 399138 h 2647950"/>
              <a:gd name="connsiteX2" fmla="*/ 457200 w 2238375"/>
              <a:gd name="connsiteY2" fmla="*/ 1781175 h 2647950"/>
              <a:gd name="connsiteX3" fmla="*/ 457200 w 2238375"/>
              <a:gd name="connsiteY3" fmla="*/ 1928813 h 2647950"/>
              <a:gd name="connsiteX4" fmla="*/ 390525 w 2238375"/>
              <a:gd name="connsiteY4" fmla="*/ 1995488 h 2647950"/>
              <a:gd name="connsiteX5" fmla="*/ 390525 w 2238375"/>
              <a:gd name="connsiteY5" fmla="*/ 2219325 h 2647950"/>
              <a:gd name="connsiteX6" fmla="*/ 271463 w 2238375"/>
              <a:gd name="connsiteY6" fmla="*/ 2338387 h 2647950"/>
              <a:gd name="connsiteX7" fmla="*/ 190500 w 2238375"/>
              <a:gd name="connsiteY7" fmla="*/ 2338387 h 2647950"/>
              <a:gd name="connsiteX8" fmla="*/ 0 w 2238375"/>
              <a:gd name="connsiteY8" fmla="*/ 2528887 h 2647950"/>
              <a:gd name="connsiteX9" fmla="*/ 0 w 2238375"/>
              <a:gd name="connsiteY9" fmla="*/ 2647950 h 2647950"/>
              <a:gd name="connsiteX0" fmla="*/ 1835312 w 1835312"/>
              <a:gd name="connsiteY0" fmla="*/ 0 h 2248812"/>
              <a:gd name="connsiteX1" fmla="*/ 457200 w 1835312"/>
              <a:gd name="connsiteY1" fmla="*/ 1382037 h 2248812"/>
              <a:gd name="connsiteX2" fmla="*/ 457200 w 1835312"/>
              <a:gd name="connsiteY2" fmla="*/ 1529675 h 2248812"/>
              <a:gd name="connsiteX3" fmla="*/ 390525 w 1835312"/>
              <a:gd name="connsiteY3" fmla="*/ 1596350 h 2248812"/>
              <a:gd name="connsiteX4" fmla="*/ 390525 w 1835312"/>
              <a:gd name="connsiteY4" fmla="*/ 1820187 h 2248812"/>
              <a:gd name="connsiteX5" fmla="*/ 271463 w 1835312"/>
              <a:gd name="connsiteY5" fmla="*/ 1939249 h 2248812"/>
              <a:gd name="connsiteX6" fmla="*/ 190500 w 1835312"/>
              <a:gd name="connsiteY6" fmla="*/ 1939249 h 2248812"/>
              <a:gd name="connsiteX7" fmla="*/ 0 w 1835312"/>
              <a:gd name="connsiteY7" fmla="*/ 2129749 h 2248812"/>
              <a:gd name="connsiteX8" fmla="*/ 0 w 1835312"/>
              <a:gd name="connsiteY8" fmla="*/ 2248812 h 224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5312" h="2248812">
                <a:moveTo>
                  <a:pt x="1835312" y="0"/>
                </a:moveTo>
                <a:lnTo>
                  <a:pt x="457200" y="1382037"/>
                </a:lnTo>
                <a:lnTo>
                  <a:pt x="457200" y="1529675"/>
                </a:lnTo>
                <a:lnTo>
                  <a:pt x="390525" y="1596350"/>
                </a:lnTo>
                <a:lnTo>
                  <a:pt x="390525" y="1820187"/>
                </a:lnTo>
                <a:lnTo>
                  <a:pt x="271463" y="1939249"/>
                </a:lnTo>
                <a:lnTo>
                  <a:pt x="190500" y="1939249"/>
                </a:lnTo>
                <a:lnTo>
                  <a:pt x="0" y="2129749"/>
                </a:lnTo>
                <a:lnTo>
                  <a:pt x="0" y="224881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70" name="Freeform 469"/>
          <p:cNvSpPr/>
          <p:nvPr/>
        </p:nvSpPr>
        <p:spPr>
          <a:xfrm rot="8100000" flipV="1">
            <a:off x="2980744" y="1196655"/>
            <a:ext cx="1704199" cy="2109245"/>
          </a:xfrm>
          <a:custGeom>
            <a:avLst/>
            <a:gdLst>
              <a:gd name="connsiteX0" fmla="*/ 2028825 w 2028825"/>
              <a:gd name="connsiteY0" fmla="*/ 0 h 2424112"/>
              <a:gd name="connsiteX1" fmla="*/ 314325 w 2028825"/>
              <a:gd name="connsiteY1" fmla="*/ 1714500 h 2424112"/>
              <a:gd name="connsiteX2" fmla="*/ 314325 w 2028825"/>
              <a:gd name="connsiteY2" fmla="*/ 1876425 h 2424112"/>
              <a:gd name="connsiteX3" fmla="*/ 233362 w 2028825"/>
              <a:gd name="connsiteY3" fmla="*/ 1957388 h 2424112"/>
              <a:gd name="connsiteX4" fmla="*/ 233362 w 2028825"/>
              <a:gd name="connsiteY4" fmla="*/ 2190750 h 2424112"/>
              <a:gd name="connsiteX5" fmla="*/ 0 w 2028825"/>
              <a:gd name="connsiteY5" fmla="*/ 2424112 h 2424112"/>
              <a:gd name="connsiteX0" fmla="*/ 2028825 w 2028825"/>
              <a:gd name="connsiteY0" fmla="*/ 0 h 2424112"/>
              <a:gd name="connsiteX1" fmla="*/ 1670935 w 2028825"/>
              <a:gd name="connsiteY1" fmla="*/ 356037 h 2424112"/>
              <a:gd name="connsiteX2" fmla="*/ 314325 w 2028825"/>
              <a:gd name="connsiteY2" fmla="*/ 1714500 h 2424112"/>
              <a:gd name="connsiteX3" fmla="*/ 314325 w 2028825"/>
              <a:gd name="connsiteY3" fmla="*/ 1876425 h 2424112"/>
              <a:gd name="connsiteX4" fmla="*/ 233362 w 2028825"/>
              <a:gd name="connsiteY4" fmla="*/ 1957388 h 2424112"/>
              <a:gd name="connsiteX5" fmla="*/ 233362 w 2028825"/>
              <a:gd name="connsiteY5" fmla="*/ 2190750 h 2424112"/>
              <a:gd name="connsiteX6" fmla="*/ 0 w 2028825"/>
              <a:gd name="connsiteY6" fmla="*/ 2424112 h 2424112"/>
              <a:gd name="connsiteX0" fmla="*/ 1670935 w 1670935"/>
              <a:gd name="connsiteY0" fmla="*/ 0 h 2068075"/>
              <a:gd name="connsiteX1" fmla="*/ 314325 w 1670935"/>
              <a:gd name="connsiteY1" fmla="*/ 1358463 h 2068075"/>
              <a:gd name="connsiteX2" fmla="*/ 314325 w 1670935"/>
              <a:gd name="connsiteY2" fmla="*/ 1520388 h 2068075"/>
              <a:gd name="connsiteX3" fmla="*/ 233362 w 1670935"/>
              <a:gd name="connsiteY3" fmla="*/ 1601351 h 2068075"/>
              <a:gd name="connsiteX4" fmla="*/ 233362 w 1670935"/>
              <a:gd name="connsiteY4" fmla="*/ 1834713 h 2068075"/>
              <a:gd name="connsiteX5" fmla="*/ 0 w 1670935"/>
              <a:gd name="connsiteY5" fmla="*/ 2068075 h 206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0935" h="2068075">
                <a:moveTo>
                  <a:pt x="1670935" y="0"/>
                </a:moveTo>
                <a:lnTo>
                  <a:pt x="314325" y="1358463"/>
                </a:lnTo>
                <a:lnTo>
                  <a:pt x="314325" y="1520388"/>
                </a:lnTo>
                <a:lnTo>
                  <a:pt x="233362" y="1601351"/>
                </a:lnTo>
                <a:lnTo>
                  <a:pt x="233362" y="1834713"/>
                </a:lnTo>
                <a:lnTo>
                  <a:pt x="0" y="206807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72" name="Freeform 471"/>
          <p:cNvSpPr/>
          <p:nvPr/>
        </p:nvSpPr>
        <p:spPr>
          <a:xfrm>
            <a:off x="9459682" y="1450717"/>
            <a:ext cx="2977530" cy="2574374"/>
          </a:xfrm>
          <a:custGeom>
            <a:avLst/>
            <a:gdLst>
              <a:gd name="connsiteX0" fmla="*/ 2919412 w 2919412"/>
              <a:gd name="connsiteY0" fmla="*/ 0 h 2524125"/>
              <a:gd name="connsiteX1" fmla="*/ 1695449 w 2919412"/>
              <a:gd name="connsiteY1" fmla="*/ 1223963 h 2524125"/>
              <a:gd name="connsiteX2" fmla="*/ 1695449 w 2919412"/>
              <a:gd name="connsiteY2" fmla="*/ 1371600 h 2524125"/>
              <a:gd name="connsiteX3" fmla="*/ 1285874 w 2919412"/>
              <a:gd name="connsiteY3" fmla="*/ 1781175 h 2524125"/>
              <a:gd name="connsiteX4" fmla="*/ 1176337 w 2919412"/>
              <a:gd name="connsiteY4" fmla="*/ 1781175 h 2524125"/>
              <a:gd name="connsiteX5" fmla="*/ 1028700 w 2919412"/>
              <a:gd name="connsiteY5" fmla="*/ 1633538 h 2524125"/>
              <a:gd name="connsiteX6" fmla="*/ 976312 w 2919412"/>
              <a:gd name="connsiteY6" fmla="*/ 1633538 h 2524125"/>
              <a:gd name="connsiteX7" fmla="*/ 885825 w 2919412"/>
              <a:gd name="connsiteY7" fmla="*/ 1724025 h 2524125"/>
              <a:gd name="connsiteX8" fmla="*/ 885825 w 2919412"/>
              <a:gd name="connsiteY8" fmla="*/ 1833563 h 2524125"/>
              <a:gd name="connsiteX9" fmla="*/ 514350 w 2919412"/>
              <a:gd name="connsiteY9" fmla="*/ 2205038 h 2524125"/>
              <a:gd name="connsiteX10" fmla="*/ 376237 w 2919412"/>
              <a:gd name="connsiteY10" fmla="*/ 2205038 h 2524125"/>
              <a:gd name="connsiteX11" fmla="*/ 314325 w 2919412"/>
              <a:gd name="connsiteY11" fmla="*/ 2266950 h 2524125"/>
              <a:gd name="connsiteX12" fmla="*/ 109537 w 2919412"/>
              <a:gd name="connsiteY12" fmla="*/ 2266950 h 2524125"/>
              <a:gd name="connsiteX13" fmla="*/ 0 w 2919412"/>
              <a:gd name="connsiteY13" fmla="*/ 2376487 h 2524125"/>
              <a:gd name="connsiteX14" fmla="*/ 0 w 2919412"/>
              <a:gd name="connsiteY14" fmla="*/ 2524125 h 2524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19412" h="2524125">
                <a:moveTo>
                  <a:pt x="2919412" y="0"/>
                </a:moveTo>
                <a:lnTo>
                  <a:pt x="1695449" y="1223963"/>
                </a:lnTo>
                <a:lnTo>
                  <a:pt x="1695449" y="1371600"/>
                </a:lnTo>
                <a:lnTo>
                  <a:pt x="1285874" y="1781175"/>
                </a:lnTo>
                <a:lnTo>
                  <a:pt x="1176337" y="1781175"/>
                </a:lnTo>
                <a:lnTo>
                  <a:pt x="1028700" y="1633538"/>
                </a:lnTo>
                <a:lnTo>
                  <a:pt x="976312" y="1633538"/>
                </a:lnTo>
                <a:lnTo>
                  <a:pt x="885825" y="1724025"/>
                </a:lnTo>
                <a:lnTo>
                  <a:pt x="885825" y="1833563"/>
                </a:lnTo>
                <a:lnTo>
                  <a:pt x="514350" y="2205038"/>
                </a:lnTo>
                <a:lnTo>
                  <a:pt x="376237" y="2205038"/>
                </a:lnTo>
                <a:lnTo>
                  <a:pt x="314325" y="2266950"/>
                </a:lnTo>
                <a:lnTo>
                  <a:pt x="109537" y="2266950"/>
                </a:lnTo>
                <a:lnTo>
                  <a:pt x="0" y="2376487"/>
                </a:lnTo>
                <a:lnTo>
                  <a:pt x="0" y="252412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477" name="Freeform 476"/>
          <p:cNvSpPr/>
          <p:nvPr/>
        </p:nvSpPr>
        <p:spPr>
          <a:xfrm>
            <a:off x="9624832" y="2436752"/>
            <a:ext cx="2812381" cy="1627198"/>
          </a:xfrm>
          <a:custGeom>
            <a:avLst/>
            <a:gdLst>
              <a:gd name="connsiteX0" fmla="*/ 2757487 w 2757487"/>
              <a:gd name="connsiteY0" fmla="*/ 0 h 1595437"/>
              <a:gd name="connsiteX1" fmla="*/ 2400300 w 2757487"/>
              <a:gd name="connsiteY1" fmla="*/ 357187 h 1595437"/>
              <a:gd name="connsiteX2" fmla="*/ 2400300 w 2757487"/>
              <a:gd name="connsiteY2" fmla="*/ 576262 h 1595437"/>
              <a:gd name="connsiteX3" fmla="*/ 2128837 w 2757487"/>
              <a:gd name="connsiteY3" fmla="*/ 847725 h 1595437"/>
              <a:gd name="connsiteX4" fmla="*/ 1614487 w 2757487"/>
              <a:gd name="connsiteY4" fmla="*/ 847725 h 1595437"/>
              <a:gd name="connsiteX5" fmla="*/ 976312 w 2757487"/>
              <a:gd name="connsiteY5" fmla="*/ 1485900 h 1595437"/>
              <a:gd name="connsiteX6" fmla="*/ 781050 w 2757487"/>
              <a:gd name="connsiteY6" fmla="*/ 1485900 h 1595437"/>
              <a:gd name="connsiteX7" fmla="*/ 723900 w 2757487"/>
              <a:gd name="connsiteY7" fmla="*/ 1428750 h 1595437"/>
              <a:gd name="connsiteX8" fmla="*/ 481012 w 2757487"/>
              <a:gd name="connsiteY8" fmla="*/ 1428750 h 1595437"/>
              <a:gd name="connsiteX9" fmla="*/ 419100 w 2757487"/>
              <a:gd name="connsiteY9" fmla="*/ 1366838 h 1595437"/>
              <a:gd name="connsiteX10" fmla="*/ 300037 w 2757487"/>
              <a:gd name="connsiteY10" fmla="*/ 1366838 h 1595437"/>
              <a:gd name="connsiteX11" fmla="*/ 161925 w 2757487"/>
              <a:gd name="connsiteY11" fmla="*/ 1504950 h 1595437"/>
              <a:gd name="connsiteX12" fmla="*/ 90487 w 2757487"/>
              <a:gd name="connsiteY12" fmla="*/ 1504950 h 1595437"/>
              <a:gd name="connsiteX13" fmla="*/ 0 w 2757487"/>
              <a:gd name="connsiteY13" fmla="*/ 1595437 h 1595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7487" h="1595437">
                <a:moveTo>
                  <a:pt x="2757487" y="0"/>
                </a:moveTo>
                <a:lnTo>
                  <a:pt x="2400300" y="357187"/>
                </a:lnTo>
                <a:lnTo>
                  <a:pt x="2400300" y="576262"/>
                </a:lnTo>
                <a:lnTo>
                  <a:pt x="2128837" y="847725"/>
                </a:lnTo>
                <a:lnTo>
                  <a:pt x="1614487" y="847725"/>
                </a:lnTo>
                <a:lnTo>
                  <a:pt x="976312" y="1485900"/>
                </a:lnTo>
                <a:lnTo>
                  <a:pt x="781050" y="1485900"/>
                </a:lnTo>
                <a:lnTo>
                  <a:pt x="723900" y="1428750"/>
                </a:lnTo>
                <a:lnTo>
                  <a:pt x="481012" y="1428750"/>
                </a:lnTo>
                <a:lnTo>
                  <a:pt x="419100" y="1366838"/>
                </a:lnTo>
                <a:lnTo>
                  <a:pt x="300037" y="1366838"/>
                </a:lnTo>
                <a:lnTo>
                  <a:pt x="161925" y="1504950"/>
                </a:lnTo>
                <a:lnTo>
                  <a:pt x="90487" y="1504950"/>
                </a:lnTo>
                <a:lnTo>
                  <a:pt x="0" y="159543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478" name="Freeform 477"/>
          <p:cNvSpPr/>
          <p:nvPr/>
        </p:nvSpPr>
        <p:spPr>
          <a:xfrm>
            <a:off x="9853125" y="2519325"/>
            <a:ext cx="2574374" cy="1714631"/>
          </a:xfrm>
          <a:custGeom>
            <a:avLst/>
            <a:gdLst>
              <a:gd name="connsiteX0" fmla="*/ 2524125 w 2524125"/>
              <a:gd name="connsiteY0" fmla="*/ 0 h 1681163"/>
              <a:gd name="connsiteX1" fmla="*/ 2243138 w 2524125"/>
              <a:gd name="connsiteY1" fmla="*/ 280987 h 1681163"/>
              <a:gd name="connsiteX2" fmla="*/ 2243138 w 2524125"/>
              <a:gd name="connsiteY2" fmla="*/ 509588 h 1681163"/>
              <a:gd name="connsiteX3" fmla="*/ 1947863 w 2524125"/>
              <a:gd name="connsiteY3" fmla="*/ 804863 h 1681163"/>
              <a:gd name="connsiteX4" fmla="*/ 1447800 w 2524125"/>
              <a:gd name="connsiteY4" fmla="*/ 804863 h 1681163"/>
              <a:gd name="connsiteX5" fmla="*/ 790575 w 2524125"/>
              <a:gd name="connsiteY5" fmla="*/ 1462088 h 1681163"/>
              <a:gd name="connsiteX6" fmla="*/ 528638 w 2524125"/>
              <a:gd name="connsiteY6" fmla="*/ 1462088 h 1681163"/>
              <a:gd name="connsiteX7" fmla="*/ 471488 w 2524125"/>
              <a:gd name="connsiteY7" fmla="*/ 1404938 h 1681163"/>
              <a:gd name="connsiteX8" fmla="*/ 266700 w 2524125"/>
              <a:gd name="connsiteY8" fmla="*/ 1404938 h 1681163"/>
              <a:gd name="connsiteX9" fmla="*/ 190500 w 2524125"/>
              <a:gd name="connsiteY9" fmla="*/ 1328738 h 1681163"/>
              <a:gd name="connsiteX10" fmla="*/ 104775 w 2524125"/>
              <a:gd name="connsiteY10" fmla="*/ 1328738 h 1681163"/>
              <a:gd name="connsiteX11" fmla="*/ 0 w 2524125"/>
              <a:gd name="connsiteY11" fmla="*/ 1433513 h 1681163"/>
              <a:gd name="connsiteX12" fmla="*/ 0 w 2524125"/>
              <a:gd name="connsiteY12" fmla="*/ 1681163 h 1681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24125" h="1681163">
                <a:moveTo>
                  <a:pt x="2524125" y="0"/>
                </a:moveTo>
                <a:lnTo>
                  <a:pt x="2243138" y="280987"/>
                </a:lnTo>
                <a:lnTo>
                  <a:pt x="2243138" y="509588"/>
                </a:lnTo>
                <a:lnTo>
                  <a:pt x="1947863" y="804863"/>
                </a:lnTo>
                <a:lnTo>
                  <a:pt x="1447800" y="804863"/>
                </a:lnTo>
                <a:lnTo>
                  <a:pt x="790575" y="1462088"/>
                </a:lnTo>
                <a:lnTo>
                  <a:pt x="528638" y="1462088"/>
                </a:lnTo>
                <a:lnTo>
                  <a:pt x="471488" y="1404938"/>
                </a:lnTo>
                <a:lnTo>
                  <a:pt x="266700" y="1404938"/>
                </a:lnTo>
                <a:lnTo>
                  <a:pt x="190500" y="1328738"/>
                </a:lnTo>
                <a:lnTo>
                  <a:pt x="104775" y="1328738"/>
                </a:lnTo>
                <a:lnTo>
                  <a:pt x="0" y="1433513"/>
                </a:lnTo>
                <a:lnTo>
                  <a:pt x="0" y="168116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675" name="Freeform 674"/>
          <p:cNvSpPr/>
          <p:nvPr/>
        </p:nvSpPr>
        <p:spPr>
          <a:xfrm>
            <a:off x="9930842" y="3325637"/>
            <a:ext cx="2511229" cy="1612627"/>
          </a:xfrm>
          <a:custGeom>
            <a:avLst/>
            <a:gdLst>
              <a:gd name="connsiteX0" fmla="*/ 2462213 w 2462213"/>
              <a:gd name="connsiteY0" fmla="*/ 0 h 1581150"/>
              <a:gd name="connsiteX1" fmla="*/ 2219325 w 2462213"/>
              <a:gd name="connsiteY1" fmla="*/ 242888 h 1581150"/>
              <a:gd name="connsiteX2" fmla="*/ 2119313 w 2462213"/>
              <a:gd name="connsiteY2" fmla="*/ 242888 h 1581150"/>
              <a:gd name="connsiteX3" fmla="*/ 1909763 w 2462213"/>
              <a:gd name="connsiteY3" fmla="*/ 452438 h 1581150"/>
              <a:gd name="connsiteX4" fmla="*/ 1762125 w 2462213"/>
              <a:gd name="connsiteY4" fmla="*/ 452438 h 1581150"/>
              <a:gd name="connsiteX5" fmla="*/ 1428750 w 2462213"/>
              <a:gd name="connsiteY5" fmla="*/ 785813 h 1581150"/>
              <a:gd name="connsiteX6" fmla="*/ 1066800 w 2462213"/>
              <a:gd name="connsiteY6" fmla="*/ 785813 h 1581150"/>
              <a:gd name="connsiteX7" fmla="*/ 719138 w 2462213"/>
              <a:gd name="connsiteY7" fmla="*/ 1133475 h 1581150"/>
              <a:gd name="connsiteX8" fmla="*/ 342900 w 2462213"/>
              <a:gd name="connsiteY8" fmla="*/ 1133475 h 1581150"/>
              <a:gd name="connsiteX9" fmla="*/ 9525 w 2462213"/>
              <a:gd name="connsiteY9" fmla="*/ 1466850 h 1581150"/>
              <a:gd name="connsiteX10" fmla="*/ 0 w 2462213"/>
              <a:gd name="connsiteY10" fmla="*/ 1581150 h 158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62213" h="1581150">
                <a:moveTo>
                  <a:pt x="2462213" y="0"/>
                </a:moveTo>
                <a:lnTo>
                  <a:pt x="2219325" y="242888"/>
                </a:lnTo>
                <a:lnTo>
                  <a:pt x="2119313" y="242888"/>
                </a:lnTo>
                <a:lnTo>
                  <a:pt x="1909763" y="452438"/>
                </a:lnTo>
                <a:lnTo>
                  <a:pt x="1762125" y="452438"/>
                </a:lnTo>
                <a:lnTo>
                  <a:pt x="1428750" y="785813"/>
                </a:lnTo>
                <a:lnTo>
                  <a:pt x="1066800" y="785813"/>
                </a:lnTo>
                <a:lnTo>
                  <a:pt x="719138" y="1133475"/>
                </a:lnTo>
                <a:lnTo>
                  <a:pt x="342900" y="1133475"/>
                </a:lnTo>
                <a:lnTo>
                  <a:pt x="9525" y="1466850"/>
                </a:lnTo>
                <a:lnTo>
                  <a:pt x="0" y="15811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76" name="Freeform 675"/>
          <p:cNvSpPr/>
          <p:nvPr/>
        </p:nvSpPr>
        <p:spPr>
          <a:xfrm>
            <a:off x="8732704" y="3918229"/>
            <a:ext cx="3717461" cy="2681235"/>
          </a:xfrm>
          <a:custGeom>
            <a:avLst/>
            <a:gdLst>
              <a:gd name="connsiteX0" fmla="*/ 3644900 w 3644900"/>
              <a:gd name="connsiteY0" fmla="*/ 0 h 2628900"/>
              <a:gd name="connsiteX1" fmla="*/ 3403600 w 3644900"/>
              <a:gd name="connsiteY1" fmla="*/ 0 h 2628900"/>
              <a:gd name="connsiteX2" fmla="*/ 3136900 w 3644900"/>
              <a:gd name="connsiteY2" fmla="*/ 266700 h 2628900"/>
              <a:gd name="connsiteX3" fmla="*/ 2882900 w 3644900"/>
              <a:gd name="connsiteY3" fmla="*/ 266700 h 2628900"/>
              <a:gd name="connsiteX4" fmla="*/ 2432050 w 3644900"/>
              <a:gd name="connsiteY4" fmla="*/ 717550 h 2628900"/>
              <a:gd name="connsiteX5" fmla="*/ 1854200 w 3644900"/>
              <a:gd name="connsiteY5" fmla="*/ 717550 h 2628900"/>
              <a:gd name="connsiteX6" fmla="*/ 1530350 w 3644900"/>
              <a:gd name="connsiteY6" fmla="*/ 1041400 h 2628900"/>
              <a:gd name="connsiteX7" fmla="*/ 1435100 w 3644900"/>
              <a:gd name="connsiteY7" fmla="*/ 1041400 h 2628900"/>
              <a:gd name="connsiteX8" fmla="*/ 863600 w 3644900"/>
              <a:gd name="connsiteY8" fmla="*/ 1612900 h 2628900"/>
              <a:gd name="connsiteX9" fmla="*/ 863600 w 3644900"/>
              <a:gd name="connsiteY9" fmla="*/ 1835150 h 2628900"/>
              <a:gd name="connsiteX10" fmla="*/ 793750 w 3644900"/>
              <a:gd name="connsiteY10" fmla="*/ 1835150 h 2628900"/>
              <a:gd name="connsiteX11" fmla="*/ 0 w 3644900"/>
              <a:gd name="connsiteY11" fmla="*/ 2628900 h 262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44900" h="2628900">
                <a:moveTo>
                  <a:pt x="3644900" y="0"/>
                </a:moveTo>
                <a:lnTo>
                  <a:pt x="3403600" y="0"/>
                </a:lnTo>
                <a:lnTo>
                  <a:pt x="3136900" y="266700"/>
                </a:lnTo>
                <a:lnTo>
                  <a:pt x="2882900" y="266700"/>
                </a:lnTo>
                <a:lnTo>
                  <a:pt x="2432050" y="717550"/>
                </a:lnTo>
                <a:lnTo>
                  <a:pt x="1854200" y="717550"/>
                </a:lnTo>
                <a:lnTo>
                  <a:pt x="1530350" y="1041400"/>
                </a:lnTo>
                <a:lnTo>
                  <a:pt x="1435100" y="1041400"/>
                </a:lnTo>
                <a:lnTo>
                  <a:pt x="863600" y="1612900"/>
                </a:lnTo>
                <a:lnTo>
                  <a:pt x="863600" y="1835150"/>
                </a:lnTo>
                <a:lnTo>
                  <a:pt x="793750" y="1835150"/>
                </a:lnTo>
                <a:lnTo>
                  <a:pt x="0" y="2628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77" name="Freeform 676"/>
          <p:cNvSpPr/>
          <p:nvPr/>
        </p:nvSpPr>
        <p:spPr>
          <a:xfrm>
            <a:off x="8654988" y="3982993"/>
            <a:ext cx="3788701" cy="2836668"/>
          </a:xfrm>
          <a:custGeom>
            <a:avLst/>
            <a:gdLst>
              <a:gd name="connsiteX0" fmla="*/ 3714750 w 3714750"/>
              <a:gd name="connsiteY0" fmla="*/ 0 h 2781300"/>
              <a:gd name="connsiteX1" fmla="*/ 3511550 w 3714750"/>
              <a:gd name="connsiteY1" fmla="*/ 0 h 2781300"/>
              <a:gd name="connsiteX2" fmla="*/ 3219450 w 3714750"/>
              <a:gd name="connsiteY2" fmla="*/ 292100 h 2781300"/>
              <a:gd name="connsiteX3" fmla="*/ 2965450 w 3714750"/>
              <a:gd name="connsiteY3" fmla="*/ 292100 h 2781300"/>
              <a:gd name="connsiteX4" fmla="*/ 2520950 w 3714750"/>
              <a:gd name="connsiteY4" fmla="*/ 736600 h 2781300"/>
              <a:gd name="connsiteX5" fmla="*/ 1949450 w 3714750"/>
              <a:gd name="connsiteY5" fmla="*/ 736600 h 2781300"/>
              <a:gd name="connsiteX6" fmla="*/ 1612900 w 3714750"/>
              <a:gd name="connsiteY6" fmla="*/ 1073150 h 2781300"/>
              <a:gd name="connsiteX7" fmla="*/ 1517650 w 3714750"/>
              <a:gd name="connsiteY7" fmla="*/ 1073150 h 2781300"/>
              <a:gd name="connsiteX8" fmla="*/ 1041400 w 3714750"/>
              <a:gd name="connsiteY8" fmla="*/ 1549400 h 2781300"/>
              <a:gd name="connsiteX9" fmla="*/ 1041400 w 3714750"/>
              <a:gd name="connsiteY9" fmla="*/ 1879600 h 2781300"/>
              <a:gd name="connsiteX10" fmla="*/ 901700 w 3714750"/>
              <a:gd name="connsiteY10" fmla="*/ 1879600 h 2781300"/>
              <a:gd name="connsiteX11" fmla="*/ 0 w 3714750"/>
              <a:gd name="connsiteY11" fmla="*/ 2781300 h 278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14750" h="2781300">
                <a:moveTo>
                  <a:pt x="3714750" y="0"/>
                </a:moveTo>
                <a:lnTo>
                  <a:pt x="3511550" y="0"/>
                </a:lnTo>
                <a:lnTo>
                  <a:pt x="3219450" y="292100"/>
                </a:lnTo>
                <a:lnTo>
                  <a:pt x="2965450" y="292100"/>
                </a:lnTo>
                <a:lnTo>
                  <a:pt x="2520950" y="736600"/>
                </a:lnTo>
                <a:lnTo>
                  <a:pt x="1949450" y="736600"/>
                </a:lnTo>
                <a:lnTo>
                  <a:pt x="1612900" y="1073150"/>
                </a:lnTo>
                <a:lnTo>
                  <a:pt x="1517650" y="1073150"/>
                </a:lnTo>
                <a:lnTo>
                  <a:pt x="1041400" y="1549400"/>
                </a:lnTo>
                <a:lnTo>
                  <a:pt x="1041400" y="1879600"/>
                </a:lnTo>
                <a:lnTo>
                  <a:pt x="901700" y="1879600"/>
                </a:lnTo>
                <a:lnTo>
                  <a:pt x="0" y="27813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678" name="Group 677"/>
          <p:cNvGrpSpPr/>
          <p:nvPr/>
        </p:nvGrpSpPr>
        <p:grpSpPr>
          <a:xfrm flipV="1">
            <a:off x="5246865" y="12952"/>
            <a:ext cx="2959720" cy="2260268"/>
            <a:chOff x="9017000" y="4648200"/>
            <a:chExt cx="2901950" cy="2216150"/>
          </a:xfrm>
        </p:grpSpPr>
        <p:sp>
          <p:nvSpPr>
            <p:cNvPr id="822" name="Freeform 821"/>
            <p:cNvSpPr/>
            <p:nvPr/>
          </p:nvSpPr>
          <p:spPr>
            <a:xfrm>
              <a:off x="9017000" y="5346700"/>
              <a:ext cx="1568450" cy="1511300"/>
            </a:xfrm>
            <a:custGeom>
              <a:avLst/>
              <a:gdLst>
                <a:gd name="connsiteX0" fmla="*/ 0 w 1568450"/>
                <a:gd name="connsiteY0" fmla="*/ 1511300 h 1511300"/>
                <a:gd name="connsiteX1" fmla="*/ 781050 w 1568450"/>
                <a:gd name="connsiteY1" fmla="*/ 730250 h 1511300"/>
                <a:gd name="connsiteX2" fmla="*/ 781050 w 1568450"/>
                <a:gd name="connsiteY2" fmla="*/ 539750 h 1511300"/>
                <a:gd name="connsiteX3" fmla="*/ 1250950 w 1568450"/>
                <a:gd name="connsiteY3" fmla="*/ 69850 h 1511300"/>
                <a:gd name="connsiteX4" fmla="*/ 1409700 w 1568450"/>
                <a:gd name="connsiteY4" fmla="*/ 69850 h 1511300"/>
                <a:gd name="connsiteX5" fmla="*/ 1479550 w 1568450"/>
                <a:gd name="connsiteY5" fmla="*/ 0 h 1511300"/>
                <a:gd name="connsiteX6" fmla="*/ 1568450 w 1568450"/>
                <a:gd name="connsiteY6" fmla="*/ 0 h 151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8450" h="1511300">
                  <a:moveTo>
                    <a:pt x="0" y="1511300"/>
                  </a:moveTo>
                  <a:lnTo>
                    <a:pt x="781050" y="730250"/>
                  </a:lnTo>
                  <a:lnTo>
                    <a:pt x="781050" y="539750"/>
                  </a:lnTo>
                  <a:lnTo>
                    <a:pt x="1250950" y="69850"/>
                  </a:lnTo>
                  <a:lnTo>
                    <a:pt x="1409700" y="69850"/>
                  </a:lnTo>
                  <a:lnTo>
                    <a:pt x="1479550" y="0"/>
                  </a:lnTo>
                  <a:lnTo>
                    <a:pt x="15684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3" name="Freeform 822"/>
            <p:cNvSpPr/>
            <p:nvPr/>
          </p:nvSpPr>
          <p:spPr>
            <a:xfrm>
              <a:off x="9118600" y="5511800"/>
              <a:ext cx="1390650" cy="1352550"/>
            </a:xfrm>
            <a:custGeom>
              <a:avLst/>
              <a:gdLst>
                <a:gd name="connsiteX0" fmla="*/ 0 w 1390650"/>
                <a:gd name="connsiteY0" fmla="*/ 1352550 h 1352550"/>
                <a:gd name="connsiteX1" fmla="*/ 850900 w 1390650"/>
                <a:gd name="connsiteY1" fmla="*/ 501650 h 1352550"/>
                <a:gd name="connsiteX2" fmla="*/ 908050 w 1390650"/>
                <a:gd name="connsiteY2" fmla="*/ 501650 h 1352550"/>
                <a:gd name="connsiteX3" fmla="*/ 958850 w 1390650"/>
                <a:gd name="connsiteY3" fmla="*/ 450850 h 1352550"/>
                <a:gd name="connsiteX4" fmla="*/ 958850 w 1390650"/>
                <a:gd name="connsiteY4" fmla="*/ 190500 h 1352550"/>
                <a:gd name="connsiteX5" fmla="*/ 1149350 w 1390650"/>
                <a:gd name="connsiteY5" fmla="*/ 0 h 1352550"/>
                <a:gd name="connsiteX6" fmla="*/ 1339850 w 1390650"/>
                <a:gd name="connsiteY6" fmla="*/ 0 h 1352550"/>
                <a:gd name="connsiteX7" fmla="*/ 1390650 w 1390650"/>
                <a:gd name="connsiteY7" fmla="*/ 50800 h 135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0650" h="1352550">
                  <a:moveTo>
                    <a:pt x="0" y="1352550"/>
                  </a:moveTo>
                  <a:lnTo>
                    <a:pt x="850900" y="501650"/>
                  </a:lnTo>
                  <a:lnTo>
                    <a:pt x="908050" y="501650"/>
                  </a:lnTo>
                  <a:lnTo>
                    <a:pt x="958850" y="450850"/>
                  </a:lnTo>
                  <a:lnTo>
                    <a:pt x="958850" y="190500"/>
                  </a:lnTo>
                  <a:lnTo>
                    <a:pt x="1149350" y="0"/>
                  </a:lnTo>
                  <a:lnTo>
                    <a:pt x="1339850" y="0"/>
                  </a:lnTo>
                  <a:lnTo>
                    <a:pt x="1390650" y="508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4" name="Freeform 823"/>
            <p:cNvSpPr/>
            <p:nvPr/>
          </p:nvSpPr>
          <p:spPr>
            <a:xfrm>
              <a:off x="9175750" y="5702300"/>
              <a:ext cx="1301750" cy="1155700"/>
            </a:xfrm>
            <a:custGeom>
              <a:avLst/>
              <a:gdLst>
                <a:gd name="connsiteX0" fmla="*/ 0 w 1301750"/>
                <a:gd name="connsiteY0" fmla="*/ 1155700 h 1155700"/>
                <a:gd name="connsiteX1" fmla="*/ 781050 w 1301750"/>
                <a:gd name="connsiteY1" fmla="*/ 374650 h 1155700"/>
                <a:gd name="connsiteX2" fmla="*/ 927100 w 1301750"/>
                <a:gd name="connsiteY2" fmla="*/ 374650 h 1155700"/>
                <a:gd name="connsiteX3" fmla="*/ 1301750 w 1301750"/>
                <a:gd name="connsiteY3" fmla="*/ 0 h 1155700"/>
              </a:gdLst>
              <a:ahLst/>
              <a:cxnLst>
                <a:cxn ang="0">
                  <a:pos x="connsiteX0" y="connsiteY0"/>
                </a:cxn>
                <a:cxn ang="0">
                  <a:pos x="connsiteX1" y="connsiteY1"/>
                </a:cxn>
                <a:cxn ang="0">
                  <a:pos x="connsiteX2" y="connsiteY2"/>
                </a:cxn>
                <a:cxn ang="0">
                  <a:pos x="connsiteX3" y="connsiteY3"/>
                </a:cxn>
              </a:cxnLst>
              <a:rect l="l" t="t" r="r" b="b"/>
              <a:pathLst>
                <a:path w="1301750" h="1155700">
                  <a:moveTo>
                    <a:pt x="0" y="1155700"/>
                  </a:moveTo>
                  <a:lnTo>
                    <a:pt x="781050" y="374650"/>
                  </a:lnTo>
                  <a:lnTo>
                    <a:pt x="927100" y="374650"/>
                  </a:lnTo>
                  <a:lnTo>
                    <a:pt x="13017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5" name="Freeform 824"/>
            <p:cNvSpPr/>
            <p:nvPr/>
          </p:nvSpPr>
          <p:spPr>
            <a:xfrm>
              <a:off x="9232900" y="4648200"/>
              <a:ext cx="2508250" cy="2216150"/>
            </a:xfrm>
            <a:custGeom>
              <a:avLst/>
              <a:gdLst>
                <a:gd name="connsiteX0" fmla="*/ 0 w 2508250"/>
                <a:gd name="connsiteY0" fmla="*/ 2216150 h 2216150"/>
                <a:gd name="connsiteX1" fmla="*/ 704850 w 2508250"/>
                <a:gd name="connsiteY1" fmla="*/ 1511300 h 2216150"/>
                <a:gd name="connsiteX2" fmla="*/ 946150 w 2508250"/>
                <a:gd name="connsiteY2" fmla="*/ 1511300 h 2216150"/>
                <a:gd name="connsiteX3" fmla="*/ 1638300 w 2508250"/>
                <a:gd name="connsiteY3" fmla="*/ 819150 h 2216150"/>
                <a:gd name="connsiteX4" fmla="*/ 1638300 w 2508250"/>
                <a:gd name="connsiteY4" fmla="*/ 679450 h 2216150"/>
                <a:gd name="connsiteX5" fmla="*/ 1752600 w 2508250"/>
                <a:gd name="connsiteY5" fmla="*/ 565150 h 2216150"/>
                <a:gd name="connsiteX6" fmla="*/ 1943100 w 2508250"/>
                <a:gd name="connsiteY6" fmla="*/ 565150 h 2216150"/>
                <a:gd name="connsiteX7" fmla="*/ 2508250 w 2508250"/>
                <a:gd name="connsiteY7" fmla="*/ 0 h 2216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8250" h="2216150">
                  <a:moveTo>
                    <a:pt x="0" y="2216150"/>
                  </a:moveTo>
                  <a:lnTo>
                    <a:pt x="704850" y="1511300"/>
                  </a:lnTo>
                  <a:lnTo>
                    <a:pt x="946150" y="1511300"/>
                  </a:lnTo>
                  <a:lnTo>
                    <a:pt x="1638300" y="819150"/>
                  </a:lnTo>
                  <a:lnTo>
                    <a:pt x="1638300" y="679450"/>
                  </a:lnTo>
                  <a:lnTo>
                    <a:pt x="1752600" y="565150"/>
                  </a:lnTo>
                  <a:lnTo>
                    <a:pt x="1943100" y="565150"/>
                  </a:lnTo>
                  <a:lnTo>
                    <a:pt x="25082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6" name="Freeform 825"/>
            <p:cNvSpPr/>
            <p:nvPr/>
          </p:nvSpPr>
          <p:spPr>
            <a:xfrm>
              <a:off x="9436100" y="5302250"/>
              <a:ext cx="1593850" cy="1562100"/>
            </a:xfrm>
            <a:custGeom>
              <a:avLst/>
              <a:gdLst>
                <a:gd name="connsiteX0" fmla="*/ 0 w 1593850"/>
                <a:gd name="connsiteY0" fmla="*/ 1562100 h 1562100"/>
                <a:gd name="connsiteX1" fmla="*/ 622300 w 1593850"/>
                <a:gd name="connsiteY1" fmla="*/ 939800 h 1562100"/>
                <a:gd name="connsiteX2" fmla="*/ 825500 w 1593850"/>
                <a:gd name="connsiteY2" fmla="*/ 939800 h 1562100"/>
                <a:gd name="connsiteX3" fmla="*/ 1593850 w 1593850"/>
                <a:gd name="connsiteY3" fmla="*/ 171450 h 1562100"/>
                <a:gd name="connsiteX4" fmla="*/ 1593850 w 1593850"/>
                <a:gd name="connsiteY4" fmla="*/ 0 h 156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850" h="1562100">
                  <a:moveTo>
                    <a:pt x="0" y="1562100"/>
                  </a:moveTo>
                  <a:lnTo>
                    <a:pt x="622300" y="939800"/>
                  </a:lnTo>
                  <a:lnTo>
                    <a:pt x="825500" y="939800"/>
                  </a:lnTo>
                  <a:lnTo>
                    <a:pt x="1593850" y="171450"/>
                  </a:lnTo>
                  <a:lnTo>
                    <a:pt x="1593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7" name="Freeform 826"/>
            <p:cNvSpPr/>
            <p:nvPr/>
          </p:nvSpPr>
          <p:spPr>
            <a:xfrm>
              <a:off x="9874250" y="5638800"/>
              <a:ext cx="1365250" cy="1212850"/>
            </a:xfrm>
            <a:custGeom>
              <a:avLst/>
              <a:gdLst>
                <a:gd name="connsiteX0" fmla="*/ 0 w 1365250"/>
                <a:gd name="connsiteY0" fmla="*/ 1212850 h 1212850"/>
                <a:gd name="connsiteX1" fmla="*/ 730250 w 1365250"/>
                <a:gd name="connsiteY1" fmla="*/ 482600 h 1212850"/>
                <a:gd name="connsiteX2" fmla="*/ 863600 w 1365250"/>
                <a:gd name="connsiteY2" fmla="*/ 482600 h 1212850"/>
                <a:gd name="connsiteX3" fmla="*/ 927100 w 1365250"/>
                <a:gd name="connsiteY3" fmla="*/ 419100 h 1212850"/>
                <a:gd name="connsiteX4" fmla="*/ 927100 w 1365250"/>
                <a:gd name="connsiteY4" fmla="*/ 184150 h 1212850"/>
                <a:gd name="connsiteX5" fmla="*/ 1111250 w 1365250"/>
                <a:gd name="connsiteY5" fmla="*/ 0 h 1212850"/>
                <a:gd name="connsiteX6" fmla="*/ 1320800 w 1365250"/>
                <a:gd name="connsiteY6" fmla="*/ 0 h 1212850"/>
                <a:gd name="connsiteX7" fmla="*/ 1365250 w 1365250"/>
                <a:gd name="connsiteY7" fmla="*/ 44450 h 1212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5250" h="1212850">
                  <a:moveTo>
                    <a:pt x="0" y="1212850"/>
                  </a:moveTo>
                  <a:lnTo>
                    <a:pt x="730250" y="482600"/>
                  </a:lnTo>
                  <a:lnTo>
                    <a:pt x="863600" y="482600"/>
                  </a:lnTo>
                  <a:lnTo>
                    <a:pt x="927100" y="419100"/>
                  </a:lnTo>
                  <a:lnTo>
                    <a:pt x="927100" y="184150"/>
                  </a:lnTo>
                  <a:lnTo>
                    <a:pt x="1111250" y="0"/>
                  </a:lnTo>
                  <a:lnTo>
                    <a:pt x="1320800" y="0"/>
                  </a:lnTo>
                  <a:lnTo>
                    <a:pt x="1365250" y="44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8" name="Freeform 827"/>
            <p:cNvSpPr/>
            <p:nvPr/>
          </p:nvSpPr>
          <p:spPr>
            <a:xfrm>
              <a:off x="10001250" y="5219700"/>
              <a:ext cx="1460500" cy="1638300"/>
            </a:xfrm>
            <a:custGeom>
              <a:avLst/>
              <a:gdLst>
                <a:gd name="connsiteX0" fmla="*/ 0 w 1460500"/>
                <a:gd name="connsiteY0" fmla="*/ 1638300 h 1638300"/>
                <a:gd name="connsiteX1" fmla="*/ 641350 w 1460500"/>
                <a:gd name="connsiteY1" fmla="*/ 996950 h 1638300"/>
                <a:gd name="connsiteX2" fmla="*/ 857250 w 1460500"/>
                <a:gd name="connsiteY2" fmla="*/ 996950 h 1638300"/>
                <a:gd name="connsiteX3" fmla="*/ 1460500 w 1460500"/>
                <a:gd name="connsiteY3" fmla="*/ 393700 h 1638300"/>
                <a:gd name="connsiteX4" fmla="*/ 1460500 w 1460500"/>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500" h="1638300">
                  <a:moveTo>
                    <a:pt x="0" y="1638300"/>
                  </a:moveTo>
                  <a:lnTo>
                    <a:pt x="641350" y="996950"/>
                  </a:lnTo>
                  <a:lnTo>
                    <a:pt x="857250" y="996950"/>
                  </a:lnTo>
                  <a:lnTo>
                    <a:pt x="1460500" y="393700"/>
                  </a:lnTo>
                  <a:lnTo>
                    <a:pt x="1460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9" name="Freeform 828"/>
            <p:cNvSpPr/>
            <p:nvPr/>
          </p:nvSpPr>
          <p:spPr>
            <a:xfrm>
              <a:off x="10071100" y="4686300"/>
              <a:ext cx="1847850" cy="2178050"/>
            </a:xfrm>
            <a:custGeom>
              <a:avLst/>
              <a:gdLst>
                <a:gd name="connsiteX0" fmla="*/ 0 w 1847850"/>
                <a:gd name="connsiteY0" fmla="*/ 2178050 h 2178050"/>
                <a:gd name="connsiteX1" fmla="*/ 584200 w 1847850"/>
                <a:gd name="connsiteY1" fmla="*/ 1593850 h 2178050"/>
                <a:gd name="connsiteX2" fmla="*/ 838200 w 1847850"/>
                <a:gd name="connsiteY2" fmla="*/ 1593850 h 2178050"/>
                <a:gd name="connsiteX3" fmla="*/ 1479550 w 1847850"/>
                <a:gd name="connsiteY3" fmla="*/ 952500 h 2178050"/>
                <a:gd name="connsiteX4" fmla="*/ 1479550 w 1847850"/>
                <a:gd name="connsiteY4" fmla="*/ 698500 h 2178050"/>
                <a:gd name="connsiteX5" fmla="*/ 1847850 w 1847850"/>
                <a:gd name="connsiteY5" fmla="*/ 330200 h 2178050"/>
                <a:gd name="connsiteX6" fmla="*/ 1847850 w 1847850"/>
                <a:gd name="connsiteY6" fmla="*/ 0 h 2178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7850" h="2178050">
                  <a:moveTo>
                    <a:pt x="0" y="2178050"/>
                  </a:moveTo>
                  <a:lnTo>
                    <a:pt x="584200" y="1593850"/>
                  </a:lnTo>
                  <a:lnTo>
                    <a:pt x="838200" y="1593850"/>
                  </a:lnTo>
                  <a:lnTo>
                    <a:pt x="1479550" y="952500"/>
                  </a:lnTo>
                  <a:lnTo>
                    <a:pt x="1479550" y="698500"/>
                  </a:lnTo>
                  <a:lnTo>
                    <a:pt x="1847850" y="330200"/>
                  </a:lnTo>
                  <a:lnTo>
                    <a:pt x="1847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0" name="Freeform 829"/>
            <p:cNvSpPr/>
            <p:nvPr/>
          </p:nvSpPr>
          <p:spPr>
            <a:xfrm>
              <a:off x="10166350" y="5422900"/>
              <a:ext cx="1536700" cy="1441450"/>
            </a:xfrm>
            <a:custGeom>
              <a:avLst/>
              <a:gdLst>
                <a:gd name="connsiteX0" fmla="*/ 0 w 1536700"/>
                <a:gd name="connsiteY0" fmla="*/ 1441450 h 1441450"/>
                <a:gd name="connsiteX1" fmla="*/ 508000 w 1536700"/>
                <a:gd name="connsiteY1" fmla="*/ 933450 h 1441450"/>
                <a:gd name="connsiteX2" fmla="*/ 793750 w 1536700"/>
                <a:gd name="connsiteY2" fmla="*/ 933450 h 1441450"/>
                <a:gd name="connsiteX3" fmla="*/ 1536700 w 1536700"/>
                <a:gd name="connsiteY3" fmla="*/ 190500 h 1441450"/>
                <a:gd name="connsiteX4" fmla="*/ 1536700 w 1536700"/>
                <a:gd name="connsiteY4" fmla="*/ 0 h 144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6700" h="1441450">
                  <a:moveTo>
                    <a:pt x="0" y="1441450"/>
                  </a:moveTo>
                  <a:lnTo>
                    <a:pt x="508000" y="933450"/>
                  </a:lnTo>
                  <a:lnTo>
                    <a:pt x="793750" y="933450"/>
                  </a:lnTo>
                  <a:lnTo>
                    <a:pt x="1536700" y="190500"/>
                  </a:lnTo>
                  <a:lnTo>
                    <a:pt x="15367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sp>
        <p:nvSpPr>
          <p:cNvPr id="679" name="Freeform 678"/>
          <p:cNvSpPr/>
          <p:nvPr/>
        </p:nvSpPr>
        <p:spPr>
          <a:xfrm>
            <a:off x="10669152" y="4203191"/>
            <a:ext cx="1761584" cy="997367"/>
          </a:xfrm>
          <a:custGeom>
            <a:avLst/>
            <a:gdLst>
              <a:gd name="connsiteX0" fmla="*/ 1727200 w 1727200"/>
              <a:gd name="connsiteY0" fmla="*/ 0 h 977900"/>
              <a:gd name="connsiteX1" fmla="*/ 1562100 w 1727200"/>
              <a:gd name="connsiteY1" fmla="*/ 0 h 977900"/>
              <a:gd name="connsiteX2" fmla="*/ 812800 w 1727200"/>
              <a:gd name="connsiteY2" fmla="*/ 749300 h 977900"/>
              <a:gd name="connsiteX3" fmla="*/ 228600 w 1727200"/>
              <a:gd name="connsiteY3" fmla="*/ 749300 h 977900"/>
              <a:gd name="connsiteX4" fmla="*/ 0 w 1727200"/>
              <a:gd name="connsiteY4" fmla="*/ 977900 h 977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200" h="977900">
                <a:moveTo>
                  <a:pt x="1727200" y="0"/>
                </a:moveTo>
                <a:lnTo>
                  <a:pt x="1562100" y="0"/>
                </a:lnTo>
                <a:lnTo>
                  <a:pt x="812800" y="749300"/>
                </a:lnTo>
                <a:lnTo>
                  <a:pt x="228600" y="749300"/>
                </a:lnTo>
                <a:lnTo>
                  <a:pt x="0" y="977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1" name="Freeform 680"/>
          <p:cNvSpPr/>
          <p:nvPr/>
        </p:nvSpPr>
        <p:spPr>
          <a:xfrm>
            <a:off x="7579903" y="4358625"/>
            <a:ext cx="2648853" cy="2668282"/>
          </a:xfrm>
          <a:custGeom>
            <a:avLst/>
            <a:gdLst>
              <a:gd name="connsiteX0" fmla="*/ 0 w 2597150"/>
              <a:gd name="connsiteY0" fmla="*/ 2616200 h 2616200"/>
              <a:gd name="connsiteX1" fmla="*/ 1885950 w 2597150"/>
              <a:gd name="connsiteY1" fmla="*/ 730250 h 2616200"/>
              <a:gd name="connsiteX2" fmla="*/ 1924050 w 2597150"/>
              <a:gd name="connsiteY2" fmla="*/ 692150 h 2616200"/>
              <a:gd name="connsiteX3" fmla="*/ 2082800 w 2597150"/>
              <a:gd name="connsiteY3" fmla="*/ 533400 h 2616200"/>
              <a:gd name="connsiteX4" fmla="*/ 2082800 w 2597150"/>
              <a:gd name="connsiteY4" fmla="*/ 330200 h 2616200"/>
              <a:gd name="connsiteX5" fmla="*/ 2279650 w 2597150"/>
              <a:gd name="connsiteY5" fmla="*/ 133350 h 2616200"/>
              <a:gd name="connsiteX6" fmla="*/ 2463800 w 2597150"/>
              <a:gd name="connsiteY6" fmla="*/ 133350 h 2616200"/>
              <a:gd name="connsiteX7" fmla="*/ 2597150 w 2597150"/>
              <a:gd name="connsiteY7" fmla="*/ 0 h 261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7150" h="2616200">
                <a:moveTo>
                  <a:pt x="0" y="2616200"/>
                </a:moveTo>
                <a:lnTo>
                  <a:pt x="1885950" y="730250"/>
                </a:lnTo>
                <a:lnTo>
                  <a:pt x="1924050" y="692150"/>
                </a:lnTo>
                <a:lnTo>
                  <a:pt x="2082800" y="533400"/>
                </a:lnTo>
                <a:lnTo>
                  <a:pt x="2082800" y="330200"/>
                </a:lnTo>
                <a:lnTo>
                  <a:pt x="2279650" y="133350"/>
                </a:lnTo>
                <a:lnTo>
                  <a:pt x="2463800" y="133350"/>
                </a:lnTo>
                <a:lnTo>
                  <a:pt x="25971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2" name="Freeform 681"/>
          <p:cNvSpPr/>
          <p:nvPr/>
        </p:nvSpPr>
        <p:spPr>
          <a:xfrm>
            <a:off x="7145984" y="4481677"/>
            <a:ext cx="2597041" cy="2512848"/>
          </a:xfrm>
          <a:custGeom>
            <a:avLst/>
            <a:gdLst>
              <a:gd name="connsiteX0" fmla="*/ 0 w 2546350"/>
              <a:gd name="connsiteY0" fmla="*/ 2463800 h 2463800"/>
              <a:gd name="connsiteX1" fmla="*/ 1428750 w 2546350"/>
              <a:gd name="connsiteY1" fmla="*/ 1035050 h 2463800"/>
              <a:gd name="connsiteX2" fmla="*/ 1835150 w 2546350"/>
              <a:gd name="connsiteY2" fmla="*/ 1035050 h 2463800"/>
              <a:gd name="connsiteX3" fmla="*/ 2063750 w 2546350"/>
              <a:gd name="connsiteY3" fmla="*/ 806450 h 2463800"/>
              <a:gd name="connsiteX4" fmla="*/ 2063750 w 2546350"/>
              <a:gd name="connsiteY4" fmla="*/ 654050 h 2463800"/>
              <a:gd name="connsiteX5" fmla="*/ 2343150 w 2546350"/>
              <a:gd name="connsiteY5" fmla="*/ 374650 h 2463800"/>
              <a:gd name="connsiteX6" fmla="*/ 2343150 w 2546350"/>
              <a:gd name="connsiteY6" fmla="*/ 107950 h 2463800"/>
              <a:gd name="connsiteX7" fmla="*/ 2451100 w 2546350"/>
              <a:gd name="connsiteY7" fmla="*/ 0 h 2463800"/>
              <a:gd name="connsiteX8" fmla="*/ 2546350 w 2546350"/>
              <a:gd name="connsiteY8" fmla="*/ 0 h 246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6350" h="2463800">
                <a:moveTo>
                  <a:pt x="0" y="2463800"/>
                </a:moveTo>
                <a:lnTo>
                  <a:pt x="1428750" y="1035050"/>
                </a:lnTo>
                <a:lnTo>
                  <a:pt x="1835150" y="1035050"/>
                </a:lnTo>
                <a:lnTo>
                  <a:pt x="2063750" y="806450"/>
                </a:lnTo>
                <a:lnTo>
                  <a:pt x="2063750" y="654050"/>
                </a:lnTo>
                <a:lnTo>
                  <a:pt x="2343150" y="374650"/>
                </a:lnTo>
                <a:lnTo>
                  <a:pt x="2343150" y="107950"/>
                </a:lnTo>
                <a:lnTo>
                  <a:pt x="2451100" y="0"/>
                </a:lnTo>
                <a:lnTo>
                  <a:pt x="25463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3" name="Freeform 682"/>
          <p:cNvSpPr/>
          <p:nvPr/>
        </p:nvSpPr>
        <p:spPr>
          <a:xfrm>
            <a:off x="7003502" y="4358625"/>
            <a:ext cx="3030961" cy="2648853"/>
          </a:xfrm>
          <a:custGeom>
            <a:avLst/>
            <a:gdLst>
              <a:gd name="connsiteX0" fmla="*/ 0 w 2971800"/>
              <a:gd name="connsiteY0" fmla="*/ 2597150 h 2597150"/>
              <a:gd name="connsiteX1" fmla="*/ 1485900 w 2971800"/>
              <a:gd name="connsiteY1" fmla="*/ 1111250 h 2597150"/>
              <a:gd name="connsiteX2" fmla="*/ 1930400 w 2971800"/>
              <a:gd name="connsiteY2" fmla="*/ 1111250 h 2597150"/>
              <a:gd name="connsiteX3" fmla="*/ 2127250 w 2971800"/>
              <a:gd name="connsiteY3" fmla="*/ 914400 h 2597150"/>
              <a:gd name="connsiteX4" fmla="*/ 2127250 w 2971800"/>
              <a:gd name="connsiteY4" fmla="*/ 711200 h 2597150"/>
              <a:gd name="connsiteX5" fmla="*/ 2374900 w 2971800"/>
              <a:gd name="connsiteY5" fmla="*/ 463550 h 2597150"/>
              <a:gd name="connsiteX6" fmla="*/ 2374900 w 2971800"/>
              <a:gd name="connsiteY6" fmla="*/ 0 h 2597150"/>
              <a:gd name="connsiteX7" fmla="*/ 2971800 w 2971800"/>
              <a:gd name="connsiteY7" fmla="*/ 0 h 259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1800" h="2597150">
                <a:moveTo>
                  <a:pt x="0" y="2597150"/>
                </a:moveTo>
                <a:lnTo>
                  <a:pt x="1485900" y="1111250"/>
                </a:lnTo>
                <a:lnTo>
                  <a:pt x="1930400" y="1111250"/>
                </a:lnTo>
                <a:lnTo>
                  <a:pt x="2127250" y="914400"/>
                </a:lnTo>
                <a:lnTo>
                  <a:pt x="2127250" y="711200"/>
                </a:lnTo>
                <a:lnTo>
                  <a:pt x="2374900" y="463550"/>
                </a:lnTo>
                <a:lnTo>
                  <a:pt x="2374900" y="0"/>
                </a:lnTo>
                <a:lnTo>
                  <a:pt x="29718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28" name="Freeform 727"/>
          <p:cNvSpPr/>
          <p:nvPr/>
        </p:nvSpPr>
        <p:spPr>
          <a:xfrm rot="8100000" flipH="1" flipV="1">
            <a:off x="5405404" y="3407143"/>
            <a:ext cx="2431569" cy="2317496"/>
          </a:xfrm>
          <a:custGeom>
            <a:avLst/>
            <a:gdLst>
              <a:gd name="connsiteX0" fmla="*/ 0 w 2571750"/>
              <a:gd name="connsiteY0" fmla="*/ 2451100 h 2451100"/>
              <a:gd name="connsiteX1" fmla="*/ 1670050 w 2571750"/>
              <a:gd name="connsiteY1" fmla="*/ 781050 h 2451100"/>
              <a:gd name="connsiteX2" fmla="*/ 2120900 w 2571750"/>
              <a:gd name="connsiteY2" fmla="*/ 781050 h 2451100"/>
              <a:gd name="connsiteX3" fmla="*/ 2324100 w 2571750"/>
              <a:gd name="connsiteY3" fmla="*/ 577850 h 2451100"/>
              <a:gd name="connsiteX4" fmla="*/ 2324100 w 2571750"/>
              <a:gd name="connsiteY4" fmla="*/ 438150 h 2451100"/>
              <a:gd name="connsiteX5" fmla="*/ 2571750 w 2571750"/>
              <a:gd name="connsiteY5" fmla="*/ 190500 h 2451100"/>
              <a:gd name="connsiteX6" fmla="*/ 2571750 w 2571750"/>
              <a:gd name="connsiteY6" fmla="*/ 0 h 2451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1750" h="2451100">
                <a:moveTo>
                  <a:pt x="0" y="2451100"/>
                </a:moveTo>
                <a:lnTo>
                  <a:pt x="1670050" y="781050"/>
                </a:lnTo>
                <a:lnTo>
                  <a:pt x="2120900" y="781050"/>
                </a:lnTo>
                <a:lnTo>
                  <a:pt x="2324100" y="577850"/>
                </a:lnTo>
                <a:lnTo>
                  <a:pt x="2324100" y="438150"/>
                </a:lnTo>
                <a:lnTo>
                  <a:pt x="2571750" y="190500"/>
                </a:lnTo>
                <a:lnTo>
                  <a:pt x="2571750" y="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76" name="Freeform 775"/>
          <p:cNvSpPr/>
          <p:nvPr/>
        </p:nvSpPr>
        <p:spPr>
          <a:xfrm>
            <a:off x="2375552" y="2588279"/>
            <a:ext cx="2630106" cy="1320370"/>
          </a:xfrm>
          <a:custGeom>
            <a:avLst/>
            <a:gdLst>
              <a:gd name="connsiteX0" fmla="*/ 0 w 2685449"/>
              <a:gd name="connsiteY0" fmla="*/ 0 h 1751798"/>
              <a:gd name="connsiteX1" fmla="*/ 0 w 2685449"/>
              <a:gd name="connsiteY1" fmla="*/ 365760 h 1751798"/>
              <a:gd name="connsiteX2" fmla="*/ 413886 w 2685449"/>
              <a:gd name="connsiteY2" fmla="*/ 779646 h 1751798"/>
              <a:gd name="connsiteX3" fmla="*/ 1713297 w 2685449"/>
              <a:gd name="connsiteY3" fmla="*/ 779646 h 1751798"/>
              <a:gd name="connsiteX4" fmla="*/ 2685449 w 2685449"/>
              <a:gd name="connsiteY4" fmla="*/ 1751798 h 1751798"/>
              <a:gd name="connsiteX0" fmla="*/ 0 w 2685449"/>
              <a:gd name="connsiteY0" fmla="*/ 0 h 1386038"/>
              <a:gd name="connsiteX1" fmla="*/ 413886 w 2685449"/>
              <a:gd name="connsiteY1" fmla="*/ 413886 h 1386038"/>
              <a:gd name="connsiteX2" fmla="*/ 1713297 w 2685449"/>
              <a:gd name="connsiteY2" fmla="*/ 413886 h 1386038"/>
              <a:gd name="connsiteX3" fmla="*/ 2685449 w 2685449"/>
              <a:gd name="connsiteY3" fmla="*/ 1386038 h 1386038"/>
              <a:gd name="connsiteX0" fmla="*/ 0 w 2578769"/>
              <a:gd name="connsiteY0" fmla="*/ 0 h 1294598"/>
              <a:gd name="connsiteX1" fmla="*/ 307206 w 2578769"/>
              <a:gd name="connsiteY1" fmla="*/ 322446 h 1294598"/>
              <a:gd name="connsiteX2" fmla="*/ 1606617 w 2578769"/>
              <a:gd name="connsiteY2" fmla="*/ 322446 h 1294598"/>
              <a:gd name="connsiteX3" fmla="*/ 2578769 w 2578769"/>
              <a:gd name="connsiteY3" fmla="*/ 1294598 h 1294598"/>
            </a:gdLst>
            <a:ahLst/>
            <a:cxnLst>
              <a:cxn ang="0">
                <a:pos x="connsiteX0" y="connsiteY0"/>
              </a:cxn>
              <a:cxn ang="0">
                <a:pos x="connsiteX1" y="connsiteY1"/>
              </a:cxn>
              <a:cxn ang="0">
                <a:pos x="connsiteX2" y="connsiteY2"/>
              </a:cxn>
              <a:cxn ang="0">
                <a:pos x="connsiteX3" y="connsiteY3"/>
              </a:cxn>
            </a:cxnLst>
            <a:rect l="l" t="t" r="r" b="b"/>
            <a:pathLst>
              <a:path w="2578769" h="1294598">
                <a:moveTo>
                  <a:pt x="0" y="0"/>
                </a:moveTo>
                <a:lnTo>
                  <a:pt x="307206" y="322446"/>
                </a:lnTo>
                <a:lnTo>
                  <a:pt x="1606617" y="322446"/>
                </a:lnTo>
                <a:lnTo>
                  <a:pt x="2578769" y="12945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77" name="Freeform 776"/>
          <p:cNvSpPr/>
          <p:nvPr/>
        </p:nvSpPr>
        <p:spPr>
          <a:xfrm>
            <a:off x="2457553" y="129528"/>
            <a:ext cx="3296002" cy="1414448"/>
          </a:xfrm>
          <a:custGeom>
            <a:avLst/>
            <a:gdLst>
              <a:gd name="connsiteX0" fmla="*/ 0 w 3596640"/>
              <a:gd name="connsiteY0" fmla="*/ 228600 h 1386840"/>
              <a:gd name="connsiteX1" fmla="*/ 0 w 3596640"/>
              <a:gd name="connsiteY1" fmla="*/ 0 h 1386840"/>
              <a:gd name="connsiteX2" fmla="*/ 2369820 w 3596640"/>
              <a:gd name="connsiteY2" fmla="*/ 0 h 1386840"/>
              <a:gd name="connsiteX3" fmla="*/ 2674620 w 3596640"/>
              <a:gd name="connsiteY3" fmla="*/ 304800 h 1386840"/>
              <a:gd name="connsiteX4" fmla="*/ 2674620 w 3596640"/>
              <a:gd name="connsiteY4" fmla="*/ 1295400 h 1386840"/>
              <a:gd name="connsiteX5" fmla="*/ 2766060 w 3596640"/>
              <a:gd name="connsiteY5" fmla="*/ 1386840 h 1386840"/>
              <a:gd name="connsiteX6" fmla="*/ 3596640 w 3596640"/>
              <a:gd name="connsiteY6" fmla="*/ 1386840 h 1386840"/>
              <a:gd name="connsiteX0" fmla="*/ 0 w 3596640"/>
              <a:gd name="connsiteY0" fmla="*/ 0 h 1386840"/>
              <a:gd name="connsiteX1" fmla="*/ 2369820 w 3596640"/>
              <a:gd name="connsiteY1" fmla="*/ 0 h 1386840"/>
              <a:gd name="connsiteX2" fmla="*/ 2674620 w 3596640"/>
              <a:gd name="connsiteY2" fmla="*/ 304800 h 1386840"/>
              <a:gd name="connsiteX3" fmla="*/ 2674620 w 3596640"/>
              <a:gd name="connsiteY3" fmla="*/ 1295400 h 1386840"/>
              <a:gd name="connsiteX4" fmla="*/ 2766060 w 3596640"/>
              <a:gd name="connsiteY4" fmla="*/ 1386840 h 1386840"/>
              <a:gd name="connsiteX5" fmla="*/ 3596640 w 3596640"/>
              <a:gd name="connsiteY5" fmla="*/ 1386840 h 1386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96640" h="1386840">
                <a:moveTo>
                  <a:pt x="0" y="0"/>
                </a:moveTo>
                <a:lnTo>
                  <a:pt x="2369820" y="0"/>
                </a:lnTo>
                <a:lnTo>
                  <a:pt x="2674620" y="304800"/>
                </a:lnTo>
                <a:lnTo>
                  <a:pt x="2674620" y="1295400"/>
                </a:lnTo>
                <a:lnTo>
                  <a:pt x="2766060" y="1386840"/>
                </a:lnTo>
                <a:lnTo>
                  <a:pt x="3596640" y="13868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0" name="Freeform 779"/>
          <p:cNvSpPr/>
          <p:nvPr/>
        </p:nvSpPr>
        <p:spPr>
          <a:xfrm>
            <a:off x="2474571" y="2223029"/>
            <a:ext cx="2560102" cy="349726"/>
          </a:xfrm>
          <a:custGeom>
            <a:avLst/>
            <a:gdLst>
              <a:gd name="connsiteX0" fmla="*/ 0 w 2686050"/>
              <a:gd name="connsiteY0" fmla="*/ 0 h 342900"/>
              <a:gd name="connsiteX1" fmla="*/ 1985963 w 2686050"/>
              <a:gd name="connsiteY1" fmla="*/ 0 h 342900"/>
              <a:gd name="connsiteX2" fmla="*/ 2114550 w 2686050"/>
              <a:gd name="connsiteY2" fmla="*/ 128587 h 342900"/>
              <a:gd name="connsiteX3" fmla="*/ 2309813 w 2686050"/>
              <a:gd name="connsiteY3" fmla="*/ 128587 h 342900"/>
              <a:gd name="connsiteX4" fmla="*/ 2419350 w 2686050"/>
              <a:gd name="connsiteY4" fmla="*/ 238124 h 342900"/>
              <a:gd name="connsiteX5" fmla="*/ 2686050 w 2686050"/>
              <a:gd name="connsiteY5" fmla="*/ 238124 h 342900"/>
              <a:gd name="connsiteX6" fmla="*/ 2686050 w 2686050"/>
              <a:gd name="connsiteY6" fmla="*/ 34290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6050" h="342900">
                <a:moveTo>
                  <a:pt x="0" y="0"/>
                </a:moveTo>
                <a:lnTo>
                  <a:pt x="1985963" y="0"/>
                </a:lnTo>
                <a:lnTo>
                  <a:pt x="2114550" y="128587"/>
                </a:lnTo>
                <a:lnTo>
                  <a:pt x="2309813" y="128587"/>
                </a:lnTo>
                <a:lnTo>
                  <a:pt x="2419350" y="238124"/>
                </a:lnTo>
                <a:lnTo>
                  <a:pt x="2686050" y="238124"/>
                </a:lnTo>
                <a:lnTo>
                  <a:pt x="2686050" y="34290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4" name="Freeform 783"/>
          <p:cNvSpPr/>
          <p:nvPr/>
        </p:nvSpPr>
        <p:spPr>
          <a:xfrm>
            <a:off x="6550359" y="2722411"/>
            <a:ext cx="2974513" cy="4299791"/>
          </a:xfrm>
          <a:custGeom>
            <a:avLst/>
            <a:gdLst>
              <a:gd name="connsiteX0" fmla="*/ 2916454 w 2916454"/>
              <a:gd name="connsiteY0" fmla="*/ 0 h 4215864"/>
              <a:gd name="connsiteX1" fmla="*/ 2916454 w 2916454"/>
              <a:gd name="connsiteY1" fmla="*/ 298383 h 4215864"/>
              <a:gd name="connsiteX2" fmla="*/ 2550694 w 2916454"/>
              <a:gd name="connsiteY2" fmla="*/ 664143 h 4215864"/>
              <a:gd name="connsiteX3" fmla="*/ 2550694 w 2916454"/>
              <a:gd name="connsiteY3" fmla="*/ 1973179 h 4215864"/>
              <a:gd name="connsiteX4" fmla="*/ 2358189 w 2916454"/>
              <a:gd name="connsiteY4" fmla="*/ 2165684 h 4215864"/>
              <a:gd name="connsiteX5" fmla="*/ 2358189 w 2916454"/>
              <a:gd name="connsiteY5" fmla="*/ 2319688 h 4215864"/>
              <a:gd name="connsiteX6" fmla="*/ 2127183 w 2916454"/>
              <a:gd name="connsiteY6" fmla="*/ 2550694 h 4215864"/>
              <a:gd name="connsiteX7" fmla="*/ 1665170 w 2916454"/>
              <a:gd name="connsiteY7" fmla="*/ 2550694 h 4215864"/>
              <a:gd name="connsiteX8" fmla="*/ 0 w 2916454"/>
              <a:gd name="connsiteY8" fmla="*/ 4215864 h 4215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6454" h="4215864">
                <a:moveTo>
                  <a:pt x="2916454" y="0"/>
                </a:moveTo>
                <a:lnTo>
                  <a:pt x="2916454" y="298383"/>
                </a:lnTo>
                <a:lnTo>
                  <a:pt x="2550694" y="664143"/>
                </a:lnTo>
                <a:lnTo>
                  <a:pt x="2550694" y="1973179"/>
                </a:lnTo>
                <a:lnTo>
                  <a:pt x="2358189" y="2165684"/>
                </a:lnTo>
                <a:lnTo>
                  <a:pt x="2358189" y="2319688"/>
                </a:lnTo>
                <a:lnTo>
                  <a:pt x="2127183" y="2550694"/>
                </a:lnTo>
                <a:lnTo>
                  <a:pt x="1665170" y="2550694"/>
                </a:lnTo>
                <a:lnTo>
                  <a:pt x="0" y="4215864"/>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5" name="Freeform 784"/>
          <p:cNvSpPr/>
          <p:nvPr/>
        </p:nvSpPr>
        <p:spPr>
          <a:xfrm>
            <a:off x="8926042" y="2702778"/>
            <a:ext cx="137437" cy="2061544"/>
          </a:xfrm>
          <a:custGeom>
            <a:avLst/>
            <a:gdLst>
              <a:gd name="connsiteX0" fmla="*/ 134754 w 134754"/>
              <a:gd name="connsiteY0" fmla="*/ 0 h 2021305"/>
              <a:gd name="connsiteX1" fmla="*/ 134754 w 134754"/>
              <a:gd name="connsiteY1" fmla="*/ 567891 h 2021305"/>
              <a:gd name="connsiteX2" fmla="*/ 0 w 134754"/>
              <a:gd name="connsiteY2" fmla="*/ 702645 h 2021305"/>
              <a:gd name="connsiteX3" fmla="*/ 0 w 134754"/>
              <a:gd name="connsiteY3" fmla="*/ 2021305 h 2021305"/>
            </a:gdLst>
            <a:ahLst/>
            <a:cxnLst>
              <a:cxn ang="0">
                <a:pos x="connsiteX0" y="connsiteY0"/>
              </a:cxn>
              <a:cxn ang="0">
                <a:pos x="connsiteX1" y="connsiteY1"/>
              </a:cxn>
              <a:cxn ang="0">
                <a:pos x="connsiteX2" y="connsiteY2"/>
              </a:cxn>
              <a:cxn ang="0">
                <a:pos x="connsiteX3" y="connsiteY3"/>
              </a:cxn>
            </a:cxnLst>
            <a:rect l="l" t="t" r="r" b="b"/>
            <a:pathLst>
              <a:path w="134754" h="2021305">
                <a:moveTo>
                  <a:pt x="134754" y="0"/>
                </a:moveTo>
                <a:lnTo>
                  <a:pt x="134754" y="567891"/>
                </a:lnTo>
                <a:lnTo>
                  <a:pt x="0" y="702645"/>
                </a:lnTo>
                <a:lnTo>
                  <a:pt x="0" y="202130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2" name="Freeform 801"/>
          <p:cNvSpPr/>
          <p:nvPr/>
        </p:nvSpPr>
        <p:spPr>
          <a:xfrm>
            <a:off x="2309723" y="1300140"/>
            <a:ext cx="738311" cy="179720"/>
          </a:xfrm>
          <a:custGeom>
            <a:avLst/>
            <a:gdLst>
              <a:gd name="connsiteX0" fmla="*/ 0 w 723900"/>
              <a:gd name="connsiteY0" fmla="*/ 176212 h 176212"/>
              <a:gd name="connsiteX1" fmla="*/ 723900 w 723900"/>
              <a:gd name="connsiteY1" fmla="*/ 176212 h 176212"/>
              <a:gd name="connsiteX2" fmla="*/ 723900 w 723900"/>
              <a:gd name="connsiteY2" fmla="*/ 0 h 176212"/>
            </a:gdLst>
            <a:ahLst/>
            <a:cxnLst>
              <a:cxn ang="0">
                <a:pos x="connsiteX0" y="connsiteY0"/>
              </a:cxn>
              <a:cxn ang="0">
                <a:pos x="connsiteX1" y="connsiteY1"/>
              </a:cxn>
              <a:cxn ang="0">
                <a:pos x="connsiteX2" y="connsiteY2"/>
              </a:cxn>
            </a:cxnLst>
            <a:rect l="l" t="t" r="r" b="b"/>
            <a:pathLst>
              <a:path w="723900" h="176212">
                <a:moveTo>
                  <a:pt x="0" y="176212"/>
                </a:moveTo>
                <a:lnTo>
                  <a:pt x="723900" y="176212"/>
                </a:lnTo>
                <a:lnTo>
                  <a:pt x="723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3" name="Freeform 802"/>
          <p:cNvSpPr/>
          <p:nvPr/>
        </p:nvSpPr>
        <p:spPr>
          <a:xfrm>
            <a:off x="2342992" y="1309855"/>
            <a:ext cx="956890" cy="218578"/>
          </a:xfrm>
          <a:custGeom>
            <a:avLst/>
            <a:gdLst>
              <a:gd name="connsiteX0" fmla="*/ 0 w 938213"/>
              <a:gd name="connsiteY0" fmla="*/ 214312 h 214312"/>
              <a:gd name="connsiteX1" fmla="*/ 938213 w 938213"/>
              <a:gd name="connsiteY1" fmla="*/ 214312 h 214312"/>
              <a:gd name="connsiteX2" fmla="*/ 938213 w 938213"/>
              <a:gd name="connsiteY2" fmla="*/ 0 h 214312"/>
            </a:gdLst>
            <a:ahLst/>
            <a:cxnLst>
              <a:cxn ang="0">
                <a:pos x="connsiteX0" y="connsiteY0"/>
              </a:cxn>
              <a:cxn ang="0">
                <a:pos x="connsiteX1" y="connsiteY1"/>
              </a:cxn>
              <a:cxn ang="0">
                <a:pos x="connsiteX2" y="connsiteY2"/>
              </a:cxn>
            </a:cxnLst>
            <a:rect l="l" t="t" r="r" b="b"/>
            <a:pathLst>
              <a:path w="938213" h="214312">
                <a:moveTo>
                  <a:pt x="0" y="214312"/>
                </a:moveTo>
                <a:lnTo>
                  <a:pt x="938213" y="214312"/>
                </a:lnTo>
                <a:lnTo>
                  <a:pt x="938213"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4" name="Freeform 803"/>
          <p:cNvSpPr/>
          <p:nvPr/>
        </p:nvSpPr>
        <p:spPr>
          <a:xfrm>
            <a:off x="3470621" y="1134991"/>
            <a:ext cx="684881" cy="374012"/>
          </a:xfrm>
          <a:custGeom>
            <a:avLst/>
            <a:gdLst>
              <a:gd name="connsiteX0" fmla="*/ 671513 w 671513"/>
              <a:gd name="connsiteY0" fmla="*/ 0 h 366712"/>
              <a:gd name="connsiteX1" fmla="*/ 481013 w 671513"/>
              <a:gd name="connsiteY1" fmla="*/ 190500 h 366712"/>
              <a:gd name="connsiteX2" fmla="*/ 481013 w 671513"/>
              <a:gd name="connsiteY2" fmla="*/ 319087 h 366712"/>
              <a:gd name="connsiteX3" fmla="*/ 433388 w 671513"/>
              <a:gd name="connsiteY3" fmla="*/ 366712 h 366712"/>
              <a:gd name="connsiteX4" fmla="*/ 0 w 671513"/>
              <a:gd name="connsiteY4" fmla="*/ 366712 h 366712"/>
              <a:gd name="connsiteX5" fmla="*/ 0 w 671513"/>
              <a:gd name="connsiteY5" fmla="*/ 171450 h 366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1513" h="366712">
                <a:moveTo>
                  <a:pt x="671513" y="0"/>
                </a:moveTo>
                <a:lnTo>
                  <a:pt x="481013" y="190500"/>
                </a:lnTo>
                <a:lnTo>
                  <a:pt x="481013" y="319087"/>
                </a:lnTo>
                <a:lnTo>
                  <a:pt x="433388" y="366712"/>
                </a:lnTo>
                <a:lnTo>
                  <a:pt x="0" y="366712"/>
                </a:lnTo>
                <a:lnTo>
                  <a:pt x="0" y="171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5" name="Freeform 804"/>
          <p:cNvSpPr/>
          <p:nvPr/>
        </p:nvSpPr>
        <p:spPr>
          <a:xfrm>
            <a:off x="8405749" y="2270835"/>
            <a:ext cx="441760" cy="1119124"/>
          </a:xfrm>
          <a:custGeom>
            <a:avLst/>
            <a:gdLst>
              <a:gd name="connsiteX0" fmla="*/ 221381 w 433137"/>
              <a:gd name="connsiteY0" fmla="*/ 0 h 1097280"/>
              <a:gd name="connsiteX1" fmla="*/ 86628 w 433137"/>
              <a:gd name="connsiteY1" fmla="*/ 0 h 1097280"/>
              <a:gd name="connsiteX2" fmla="*/ 86628 w 433137"/>
              <a:gd name="connsiteY2" fmla="*/ 182880 h 1097280"/>
              <a:gd name="connsiteX3" fmla="*/ 433137 w 433137"/>
              <a:gd name="connsiteY3" fmla="*/ 529389 h 1097280"/>
              <a:gd name="connsiteX4" fmla="*/ 433137 w 433137"/>
              <a:gd name="connsiteY4" fmla="*/ 1097280 h 1097280"/>
              <a:gd name="connsiteX5" fmla="*/ 0 w 433137"/>
              <a:gd name="connsiteY5" fmla="*/ 1097280 h 109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137" h="1097280">
                <a:moveTo>
                  <a:pt x="221381" y="0"/>
                </a:moveTo>
                <a:lnTo>
                  <a:pt x="86628" y="0"/>
                </a:lnTo>
                <a:lnTo>
                  <a:pt x="86628" y="182880"/>
                </a:lnTo>
                <a:lnTo>
                  <a:pt x="433137" y="529389"/>
                </a:lnTo>
                <a:lnTo>
                  <a:pt x="433137" y="1097280"/>
                </a:lnTo>
                <a:lnTo>
                  <a:pt x="0" y="109728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6" name="Freeform 805"/>
          <p:cNvSpPr/>
          <p:nvPr/>
        </p:nvSpPr>
        <p:spPr>
          <a:xfrm>
            <a:off x="8386114" y="3723731"/>
            <a:ext cx="392675" cy="1099491"/>
          </a:xfrm>
          <a:custGeom>
            <a:avLst/>
            <a:gdLst>
              <a:gd name="connsiteX0" fmla="*/ 0 w 385010"/>
              <a:gd name="connsiteY0" fmla="*/ 0 h 1078030"/>
              <a:gd name="connsiteX1" fmla="*/ 385010 w 385010"/>
              <a:gd name="connsiteY1" fmla="*/ 0 h 1078030"/>
              <a:gd name="connsiteX2" fmla="*/ 385010 w 385010"/>
              <a:gd name="connsiteY2" fmla="*/ 1078030 h 1078030"/>
            </a:gdLst>
            <a:ahLst/>
            <a:cxnLst>
              <a:cxn ang="0">
                <a:pos x="connsiteX0" y="connsiteY0"/>
              </a:cxn>
              <a:cxn ang="0">
                <a:pos x="connsiteX1" y="connsiteY1"/>
              </a:cxn>
              <a:cxn ang="0">
                <a:pos x="connsiteX2" y="connsiteY2"/>
              </a:cxn>
            </a:cxnLst>
            <a:rect l="l" t="t" r="r" b="b"/>
            <a:pathLst>
              <a:path w="385010" h="1078030">
                <a:moveTo>
                  <a:pt x="0" y="0"/>
                </a:moveTo>
                <a:lnTo>
                  <a:pt x="385010" y="0"/>
                </a:lnTo>
                <a:lnTo>
                  <a:pt x="385010" y="107803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7" name="Freeform 806"/>
          <p:cNvSpPr/>
          <p:nvPr/>
        </p:nvSpPr>
        <p:spPr>
          <a:xfrm>
            <a:off x="8405749" y="4037873"/>
            <a:ext cx="235606" cy="0"/>
          </a:xfrm>
          <a:custGeom>
            <a:avLst/>
            <a:gdLst>
              <a:gd name="connsiteX0" fmla="*/ 0 w 231007"/>
              <a:gd name="connsiteY0" fmla="*/ 0 h 0"/>
              <a:gd name="connsiteX1" fmla="*/ 231007 w 231007"/>
              <a:gd name="connsiteY1" fmla="*/ 0 h 0"/>
            </a:gdLst>
            <a:ahLst/>
            <a:cxnLst>
              <a:cxn ang="0">
                <a:pos x="connsiteX0" y="connsiteY0"/>
              </a:cxn>
              <a:cxn ang="0">
                <a:pos x="connsiteX1" y="connsiteY1"/>
              </a:cxn>
            </a:cxnLst>
            <a:rect l="l" t="t" r="r" b="b"/>
            <a:pathLst>
              <a:path w="231007">
                <a:moveTo>
                  <a:pt x="0" y="0"/>
                </a:moveTo>
                <a:lnTo>
                  <a:pt x="231007"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8" name="Freeform 807"/>
          <p:cNvSpPr/>
          <p:nvPr/>
        </p:nvSpPr>
        <p:spPr>
          <a:xfrm>
            <a:off x="624237" y="3717460"/>
            <a:ext cx="6554129" cy="3302970"/>
          </a:xfrm>
          <a:custGeom>
            <a:avLst/>
            <a:gdLst>
              <a:gd name="connsiteX0" fmla="*/ 0 w 6451600"/>
              <a:gd name="connsiteY0" fmla="*/ 3175000 h 3175000"/>
              <a:gd name="connsiteX1" fmla="*/ 419100 w 6451600"/>
              <a:gd name="connsiteY1" fmla="*/ 2755900 h 3175000"/>
              <a:gd name="connsiteX2" fmla="*/ 5778500 w 6451600"/>
              <a:gd name="connsiteY2" fmla="*/ 2755900 h 3175000"/>
              <a:gd name="connsiteX3" fmla="*/ 6070600 w 6451600"/>
              <a:gd name="connsiteY3" fmla="*/ 2463800 h 3175000"/>
              <a:gd name="connsiteX4" fmla="*/ 6070600 w 6451600"/>
              <a:gd name="connsiteY4" fmla="*/ 190500 h 3175000"/>
              <a:gd name="connsiteX5" fmla="*/ 6261100 w 6451600"/>
              <a:gd name="connsiteY5" fmla="*/ 0 h 3175000"/>
              <a:gd name="connsiteX6" fmla="*/ 6451600 w 6451600"/>
              <a:gd name="connsiteY6" fmla="*/ 0 h 317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51600" h="3175000">
                <a:moveTo>
                  <a:pt x="0" y="3175000"/>
                </a:moveTo>
                <a:lnTo>
                  <a:pt x="419100" y="2755900"/>
                </a:lnTo>
                <a:lnTo>
                  <a:pt x="5778500" y="2755900"/>
                </a:lnTo>
                <a:lnTo>
                  <a:pt x="6070600" y="2463800"/>
                </a:lnTo>
                <a:lnTo>
                  <a:pt x="6070600" y="190500"/>
                </a:lnTo>
                <a:lnTo>
                  <a:pt x="6261100" y="0"/>
                </a:lnTo>
                <a:lnTo>
                  <a:pt x="64516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9" name="Freeform 808"/>
          <p:cNvSpPr/>
          <p:nvPr/>
        </p:nvSpPr>
        <p:spPr>
          <a:xfrm>
            <a:off x="779671" y="4054233"/>
            <a:ext cx="6385742" cy="2953244"/>
          </a:xfrm>
          <a:custGeom>
            <a:avLst/>
            <a:gdLst>
              <a:gd name="connsiteX0" fmla="*/ 0 w 6311900"/>
              <a:gd name="connsiteY0" fmla="*/ 2857500 h 2857500"/>
              <a:gd name="connsiteX1" fmla="*/ 317500 w 6311900"/>
              <a:gd name="connsiteY1" fmla="*/ 2540000 h 2857500"/>
              <a:gd name="connsiteX2" fmla="*/ 5638800 w 6311900"/>
              <a:gd name="connsiteY2" fmla="*/ 2540000 h 2857500"/>
              <a:gd name="connsiteX3" fmla="*/ 5994400 w 6311900"/>
              <a:gd name="connsiteY3" fmla="*/ 2184400 h 2857500"/>
              <a:gd name="connsiteX4" fmla="*/ 5994400 w 6311900"/>
              <a:gd name="connsiteY4" fmla="*/ 0 h 2857500"/>
              <a:gd name="connsiteX5" fmla="*/ 6311900 w 6311900"/>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11900" h="2857500">
                <a:moveTo>
                  <a:pt x="0" y="2857500"/>
                </a:moveTo>
                <a:lnTo>
                  <a:pt x="317500" y="2540000"/>
                </a:lnTo>
                <a:lnTo>
                  <a:pt x="5638800" y="2540000"/>
                </a:lnTo>
                <a:lnTo>
                  <a:pt x="5994400" y="2184400"/>
                </a:lnTo>
                <a:lnTo>
                  <a:pt x="5994400" y="0"/>
                </a:lnTo>
                <a:lnTo>
                  <a:pt x="6311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1" name="Freeform 810"/>
          <p:cNvSpPr/>
          <p:nvPr/>
        </p:nvSpPr>
        <p:spPr>
          <a:xfrm>
            <a:off x="1090539" y="4403960"/>
            <a:ext cx="7033383" cy="2590565"/>
          </a:xfrm>
          <a:custGeom>
            <a:avLst/>
            <a:gdLst>
              <a:gd name="connsiteX0" fmla="*/ 0 w 6921500"/>
              <a:gd name="connsiteY0" fmla="*/ 2540000 h 2540000"/>
              <a:gd name="connsiteX1" fmla="*/ 139700 w 6921500"/>
              <a:gd name="connsiteY1" fmla="*/ 2400300 h 2540000"/>
              <a:gd name="connsiteX2" fmla="*/ 5295900 w 6921500"/>
              <a:gd name="connsiteY2" fmla="*/ 2400300 h 2540000"/>
              <a:gd name="connsiteX3" fmla="*/ 6921500 w 6921500"/>
              <a:gd name="connsiteY3" fmla="*/ 774700 h 2540000"/>
              <a:gd name="connsiteX4" fmla="*/ 6921500 w 6921500"/>
              <a:gd name="connsiteY4" fmla="*/ 0 h 254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1500" h="2540000">
                <a:moveTo>
                  <a:pt x="0" y="2540000"/>
                </a:moveTo>
                <a:lnTo>
                  <a:pt x="139700" y="2400300"/>
                </a:lnTo>
                <a:lnTo>
                  <a:pt x="5295900" y="2400300"/>
                </a:lnTo>
                <a:lnTo>
                  <a:pt x="6921500" y="774700"/>
                </a:lnTo>
                <a:lnTo>
                  <a:pt x="6921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2" name="Freeform 811"/>
          <p:cNvSpPr/>
          <p:nvPr/>
        </p:nvSpPr>
        <p:spPr>
          <a:xfrm>
            <a:off x="7061790" y="4326243"/>
            <a:ext cx="738311" cy="1683867"/>
          </a:xfrm>
          <a:custGeom>
            <a:avLst/>
            <a:gdLst>
              <a:gd name="connsiteX0" fmla="*/ 723900 w 723900"/>
              <a:gd name="connsiteY0" fmla="*/ 0 h 1651000"/>
              <a:gd name="connsiteX1" fmla="*/ 723900 w 723900"/>
              <a:gd name="connsiteY1" fmla="*/ 927100 h 1651000"/>
              <a:gd name="connsiteX2" fmla="*/ 0 w 723900"/>
              <a:gd name="connsiteY2" fmla="*/ 1651000 h 1651000"/>
            </a:gdLst>
            <a:ahLst/>
            <a:cxnLst>
              <a:cxn ang="0">
                <a:pos x="connsiteX0" y="connsiteY0"/>
              </a:cxn>
              <a:cxn ang="0">
                <a:pos x="connsiteX1" y="connsiteY1"/>
              </a:cxn>
              <a:cxn ang="0">
                <a:pos x="connsiteX2" y="connsiteY2"/>
              </a:cxn>
            </a:cxnLst>
            <a:rect l="l" t="t" r="r" b="b"/>
            <a:pathLst>
              <a:path w="723900" h="1651000">
                <a:moveTo>
                  <a:pt x="723900" y="0"/>
                </a:moveTo>
                <a:lnTo>
                  <a:pt x="723900" y="927100"/>
                </a:lnTo>
                <a:lnTo>
                  <a:pt x="0" y="16510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3" name="Freeform 812"/>
          <p:cNvSpPr/>
          <p:nvPr/>
        </p:nvSpPr>
        <p:spPr>
          <a:xfrm>
            <a:off x="7165413" y="4326243"/>
            <a:ext cx="336773" cy="1204613"/>
          </a:xfrm>
          <a:custGeom>
            <a:avLst/>
            <a:gdLst>
              <a:gd name="connsiteX0" fmla="*/ 330200 w 330200"/>
              <a:gd name="connsiteY0" fmla="*/ 0 h 1181100"/>
              <a:gd name="connsiteX1" fmla="*/ 330200 w 330200"/>
              <a:gd name="connsiteY1" fmla="*/ 292100 h 1181100"/>
              <a:gd name="connsiteX2" fmla="*/ 0 w 330200"/>
              <a:gd name="connsiteY2" fmla="*/ 622300 h 1181100"/>
              <a:gd name="connsiteX3" fmla="*/ 0 w 330200"/>
              <a:gd name="connsiteY3" fmla="*/ 1181100 h 1181100"/>
            </a:gdLst>
            <a:ahLst/>
            <a:cxnLst>
              <a:cxn ang="0">
                <a:pos x="connsiteX0" y="connsiteY0"/>
              </a:cxn>
              <a:cxn ang="0">
                <a:pos x="connsiteX1" y="connsiteY1"/>
              </a:cxn>
              <a:cxn ang="0">
                <a:pos x="connsiteX2" y="connsiteY2"/>
              </a:cxn>
              <a:cxn ang="0">
                <a:pos x="connsiteX3" y="connsiteY3"/>
              </a:cxn>
            </a:cxnLst>
            <a:rect l="l" t="t" r="r" b="b"/>
            <a:pathLst>
              <a:path w="330200" h="1181100">
                <a:moveTo>
                  <a:pt x="330200" y="0"/>
                </a:moveTo>
                <a:lnTo>
                  <a:pt x="330200" y="292100"/>
                </a:lnTo>
                <a:lnTo>
                  <a:pt x="0" y="622300"/>
                </a:lnTo>
                <a:lnTo>
                  <a:pt x="0" y="1181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4" name="Freeform 813"/>
          <p:cNvSpPr/>
          <p:nvPr/>
        </p:nvSpPr>
        <p:spPr>
          <a:xfrm>
            <a:off x="6933216" y="2319920"/>
            <a:ext cx="873702" cy="814801"/>
          </a:xfrm>
          <a:custGeom>
            <a:avLst/>
            <a:gdLst>
              <a:gd name="connsiteX0" fmla="*/ 0 w 856648"/>
              <a:gd name="connsiteY0" fmla="*/ 0 h 798897"/>
              <a:gd name="connsiteX1" fmla="*/ 606391 w 856648"/>
              <a:gd name="connsiteY1" fmla="*/ 0 h 798897"/>
              <a:gd name="connsiteX2" fmla="*/ 856648 w 856648"/>
              <a:gd name="connsiteY2" fmla="*/ 250257 h 798897"/>
              <a:gd name="connsiteX3" fmla="*/ 856648 w 856648"/>
              <a:gd name="connsiteY3" fmla="*/ 798897 h 798897"/>
            </a:gdLst>
            <a:ahLst/>
            <a:cxnLst>
              <a:cxn ang="0">
                <a:pos x="connsiteX0" y="connsiteY0"/>
              </a:cxn>
              <a:cxn ang="0">
                <a:pos x="connsiteX1" y="connsiteY1"/>
              </a:cxn>
              <a:cxn ang="0">
                <a:pos x="connsiteX2" y="connsiteY2"/>
              </a:cxn>
              <a:cxn ang="0">
                <a:pos x="connsiteX3" y="connsiteY3"/>
              </a:cxn>
            </a:cxnLst>
            <a:rect l="l" t="t" r="r" b="b"/>
            <a:pathLst>
              <a:path w="856648" h="798897">
                <a:moveTo>
                  <a:pt x="0" y="0"/>
                </a:moveTo>
                <a:lnTo>
                  <a:pt x="606391" y="0"/>
                </a:lnTo>
                <a:lnTo>
                  <a:pt x="856648" y="250257"/>
                </a:lnTo>
                <a:lnTo>
                  <a:pt x="856648" y="79889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5" name="Freeform 814"/>
          <p:cNvSpPr/>
          <p:nvPr/>
        </p:nvSpPr>
        <p:spPr>
          <a:xfrm>
            <a:off x="6933218" y="2162849"/>
            <a:ext cx="1158391" cy="932603"/>
          </a:xfrm>
          <a:custGeom>
            <a:avLst/>
            <a:gdLst>
              <a:gd name="connsiteX0" fmla="*/ 0 w 1126155"/>
              <a:gd name="connsiteY0" fmla="*/ 0 h 914400"/>
              <a:gd name="connsiteX1" fmla="*/ 664143 w 1126155"/>
              <a:gd name="connsiteY1" fmla="*/ 0 h 914400"/>
              <a:gd name="connsiteX2" fmla="*/ 1126155 w 1126155"/>
              <a:gd name="connsiteY2" fmla="*/ 462012 h 914400"/>
              <a:gd name="connsiteX3" fmla="*/ 1126155 w 1126155"/>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1126155" h="914400">
                <a:moveTo>
                  <a:pt x="0" y="0"/>
                </a:moveTo>
                <a:lnTo>
                  <a:pt x="664143" y="0"/>
                </a:lnTo>
                <a:lnTo>
                  <a:pt x="1126155" y="462012"/>
                </a:lnTo>
                <a:lnTo>
                  <a:pt x="1126155" y="9144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6" name="Freeform 815"/>
          <p:cNvSpPr/>
          <p:nvPr/>
        </p:nvSpPr>
        <p:spPr>
          <a:xfrm>
            <a:off x="6923400" y="2015596"/>
            <a:ext cx="520294" cy="0"/>
          </a:xfrm>
          <a:custGeom>
            <a:avLst/>
            <a:gdLst>
              <a:gd name="connsiteX0" fmla="*/ 0 w 510138"/>
              <a:gd name="connsiteY0" fmla="*/ 0 h 0"/>
              <a:gd name="connsiteX1" fmla="*/ 510138 w 510138"/>
              <a:gd name="connsiteY1" fmla="*/ 0 h 0"/>
            </a:gdLst>
            <a:ahLst/>
            <a:cxnLst>
              <a:cxn ang="0">
                <a:pos x="connsiteX0" y="connsiteY0"/>
              </a:cxn>
              <a:cxn ang="0">
                <a:pos x="connsiteX1" y="connsiteY1"/>
              </a:cxn>
            </a:cxnLst>
            <a:rect l="l" t="t" r="r" b="b"/>
            <a:pathLst>
              <a:path w="510138">
                <a:moveTo>
                  <a:pt x="0" y="0"/>
                </a:moveTo>
                <a:lnTo>
                  <a:pt x="510138"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8" name="Freeform 817"/>
          <p:cNvSpPr/>
          <p:nvPr/>
        </p:nvSpPr>
        <p:spPr>
          <a:xfrm>
            <a:off x="9522827" y="533656"/>
            <a:ext cx="1080266" cy="427443"/>
          </a:xfrm>
          <a:custGeom>
            <a:avLst/>
            <a:gdLst>
              <a:gd name="connsiteX0" fmla="*/ 1005840 w 1005840"/>
              <a:gd name="connsiteY0" fmla="*/ 0 h 419100"/>
              <a:gd name="connsiteX1" fmla="*/ 312420 w 1005840"/>
              <a:gd name="connsiteY1" fmla="*/ 0 h 419100"/>
              <a:gd name="connsiteX2" fmla="*/ 190500 w 1005840"/>
              <a:gd name="connsiteY2" fmla="*/ 121920 h 419100"/>
              <a:gd name="connsiteX3" fmla="*/ 0 w 1005840"/>
              <a:gd name="connsiteY3" fmla="*/ 121920 h 419100"/>
              <a:gd name="connsiteX4" fmla="*/ 0 w 1005840"/>
              <a:gd name="connsiteY4" fmla="*/ 419100 h 419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40" h="419100">
                <a:moveTo>
                  <a:pt x="1005840" y="0"/>
                </a:moveTo>
                <a:lnTo>
                  <a:pt x="312420" y="0"/>
                </a:lnTo>
                <a:lnTo>
                  <a:pt x="190500" y="121920"/>
                </a:lnTo>
                <a:lnTo>
                  <a:pt x="0" y="121920"/>
                </a:lnTo>
                <a:lnTo>
                  <a:pt x="0" y="419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819" name="Freeform 818"/>
          <p:cNvSpPr/>
          <p:nvPr/>
        </p:nvSpPr>
        <p:spPr>
          <a:xfrm>
            <a:off x="9110927" y="347135"/>
            <a:ext cx="1484394" cy="598420"/>
          </a:xfrm>
          <a:custGeom>
            <a:avLst/>
            <a:gdLst>
              <a:gd name="connsiteX0" fmla="*/ 1455420 w 1455420"/>
              <a:gd name="connsiteY0" fmla="*/ 0 h 586740"/>
              <a:gd name="connsiteX1" fmla="*/ 685800 w 1455420"/>
              <a:gd name="connsiteY1" fmla="*/ 0 h 586740"/>
              <a:gd name="connsiteX2" fmla="*/ 586740 w 1455420"/>
              <a:gd name="connsiteY2" fmla="*/ 99060 h 586740"/>
              <a:gd name="connsiteX3" fmla="*/ 175260 w 1455420"/>
              <a:gd name="connsiteY3" fmla="*/ 99060 h 586740"/>
              <a:gd name="connsiteX4" fmla="*/ 0 w 1455420"/>
              <a:gd name="connsiteY4" fmla="*/ 274320 h 586740"/>
              <a:gd name="connsiteX5" fmla="*/ 0 w 1455420"/>
              <a:gd name="connsiteY5" fmla="*/ 586740 h 58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55420" h="586740">
                <a:moveTo>
                  <a:pt x="1455420" y="0"/>
                </a:moveTo>
                <a:lnTo>
                  <a:pt x="685800" y="0"/>
                </a:lnTo>
                <a:lnTo>
                  <a:pt x="586740" y="99060"/>
                </a:lnTo>
                <a:lnTo>
                  <a:pt x="175260" y="99060"/>
                </a:lnTo>
                <a:lnTo>
                  <a:pt x="0" y="274320"/>
                </a:lnTo>
                <a:lnTo>
                  <a:pt x="0" y="5867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1157" name="Group 1156"/>
          <p:cNvGrpSpPr/>
          <p:nvPr/>
        </p:nvGrpSpPr>
        <p:grpSpPr>
          <a:xfrm>
            <a:off x="7151576" y="3078735"/>
            <a:ext cx="1268581" cy="1268575"/>
            <a:chOff x="7017864" y="3022334"/>
            <a:chExt cx="1243820" cy="1243814"/>
          </a:xfrm>
        </p:grpSpPr>
        <p:sp>
          <p:nvSpPr>
            <p:cNvPr id="1158" name="Rounded Rectangle 5"/>
            <p:cNvSpPr/>
            <p:nvPr/>
          </p:nvSpPr>
          <p:spPr>
            <a:xfrm>
              <a:off x="7203873" y="3345744"/>
              <a:ext cx="871802" cy="596995"/>
            </a:xfrm>
            <a:custGeom>
              <a:avLst/>
              <a:gdLst/>
              <a:ahLst/>
              <a:cxnLst/>
              <a:rect l="l" t="t" r="r" b="b"/>
              <a:pathLst>
                <a:path w="2103120" h="1440180">
                  <a:moveTo>
                    <a:pt x="108334" y="103348"/>
                  </a:moveTo>
                  <a:cubicBezTo>
                    <a:pt x="94006" y="103348"/>
                    <a:pt x="82391" y="114963"/>
                    <a:pt x="82391" y="129291"/>
                  </a:cubicBezTo>
                  <a:lnTo>
                    <a:pt x="82391" y="1284063"/>
                  </a:lnTo>
                  <a:cubicBezTo>
                    <a:pt x="82391" y="1298391"/>
                    <a:pt x="94006" y="1310006"/>
                    <a:pt x="108334" y="1310006"/>
                  </a:cubicBezTo>
                  <a:lnTo>
                    <a:pt x="1994786" y="1310006"/>
                  </a:lnTo>
                  <a:cubicBezTo>
                    <a:pt x="2009114" y="1310006"/>
                    <a:pt x="2020729" y="1298391"/>
                    <a:pt x="2020729" y="1284063"/>
                  </a:cubicBezTo>
                  <a:lnTo>
                    <a:pt x="2020729" y="129291"/>
                  </a:lnTo>
                  <a:cubicBezTo>
                    <a:pt x="2020729" y="114963"/>
                    <a:pt x="2009114" y="103348"/>
                    <a:pt x="1994786" y="103348"/>
                  </a:cubicBezTo>
                  <a:close/>
                  <a:moveTo>
                    <a:pt x="1051561" y="37624"/>
                  </a:moveTo>
                  <a:cubicBezTo>
                    <a:pt x="1038936" y="37624"/>
                    <a:pt x="1028701" y="47859"/>
                    <a:pt x="1028701" y="60484"/>
                  </a:cubicBezTo>
                  <a:cubicBezTo>
                    <a:pt x="1028701" y="73109"/>
                    <a:pt x="1038936" y="83344"/>
                    <a:pt x="1051561" y="83344"/>
                  </a:cubicBezTo>
                  <a:cubicBezTo>
                    <a:pt x="1064186" y="83344"/>
                    <a:pt x="1074421" y="73109"/>
                    <a:pt x="1074421" y="60484"/>
                  </a:cubicBezTo>
                  <a:cubicBezTo>
                    <a:pt x="1074421" y="47859"/>
                    <a:pt x="1064186" y="37624"/>
                    <a:pt x="1051561" y="37624"/>
                  </a:cubicBezTo>
                  <a:close/>
                  <a:moveTo>
                    <a:pt x="30964" y="0"/>
                  </a:moveTo>
                  <a:lnTo>
                    <a:pt x="2072156" y="0"/>
                  </a:lnTo>
                  <a:cubicBezTo>
                    <a:pt x="2089257" y="0"/>
                    <a:pt x="2103120" y="13863"/>
                    <a:pt x="2103120" y="30964"/>
                  </a:cubicBezTo>
                  <a:lnTo>
                    <a:pt x="2103120" y="1409216"/>
                  </a:lnTo>
                  <a:cubicBezTo>
                    <a:pt x="2103120" y="1426317"/>
                    <a:pt x="2089257" y="1440180"/>
                    <a:pt x="2072156" y="1440180"/>
                  </a:cubicBezTo>
                  <a:lnTo>
                    <a:pt x="30964" y="1440180"/>
                  </a:lnTo>
                  <a:cubicBezTo>
                    <a:pt x="13863" y="1440180"/>
                    <a:pt x="0" y="1426317"/>
                    <a:pt x="0" y="1409216"/>
                  </a:cubicBezTo>
                  <a:lnTo>
                    <a:pt x="0" y="30964"/>
                  </a:lnTo>
                  <a:cubicBezTo>
                    <a:pt x="0" y="13863"/>
                    <a:pt x="13863" y="0"/>
                    <a:pt x="30964" y="0"/>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1159" name="Group 1158"/>
            <p:cNvGrpSpPr/>
            <p:nvPr/>
          </p:nvGrpSpPr>
          <p:grpSpPr>
            <a:xfrm>
              <a:off x="7017864" y="3022334"/>
              <a:ext cx="1243820" cy="1243814"/>
              <a:chOff x="7172539" y="1843152"/>
              <a:chExt cx="1465201" cy="1465198"/>
            </a:xfrm>
            <a:solidFill>
              <a:srgbClr val="1A3762"/>
            </a:solidFill>
          </p:grpSpPr>
          <p:sp>
            <p:nvSpPr>
              <p:cNvPr id="1160" name="Rounded Rectangle 47"/>
              <p:cNvSpPr/>
              <p:nvPr/>
            </p:nvSpPr>
            <p:spPr>
              <a:xfrm rot="5400000">
                <a:off x="7172541" y="1843150"/>
                <a:ext cx="1465198" cy="1465201"/>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latin typeface="Segoe UI"/>
                  <a:ea typeface="+mn-ea"/>
                  <a:cs typeface="+mn-cs"/>
                </a:endParaRPr>
              </a:p>
            </p:txBody>
          </p:sp>
          <p:sp>
            <p:nvSpPr>
              <p:cNvPr id="1161" name="Freeform 1160"/>
              <p:cNvSpPr/>
              <p:nvPr/>
            </p:nvSpPr>
            <p:spPr>
              <a:xfrm>
                <a:off x="7283599" y="1954211"/>
                <a:ext cx="1243081" cy="1243078"/>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latin typeface="Segoe UI"/>
                  <a:ea typeface="+mn-ea"/>
                  <a:cs typeface="+mn-cs"/>
                </a:endParaRPr>
              </a:p>
            </p:txBody>
          </p:sp>
        </p:grpSp>
      </p:grpSp>
      <p:sp>
        <p:nvSpPr>
          <p:cNvPr id="448" name="Freeform 447"/>
          <p:cNvSpPr/>
          <p:nvPr/>
        </p:nvSpPr>
        <p:spPr>
          <a:xfrm>
            <a:off x="769758" y="5240659"/>
            <a:ext cx="2548184" cy="167782"/>
          </a:xfrm>
          <a:custGeom>
            <a:avLst/>
            <a:gdLst>
              <a:gd name="connsiteX0" fmla="*/ 0 w 3086100"/>
              <a:gd name="connsiteY0" fmla="*/ 203200 h 203200"/>
              <a:gd name="connsiteX1" fmla="*/ 203200 w 3086100"/>
              <a:gd name="connsiteY1" fmla="*/ 0 h 203200"/>
              <a:gd name="connsiteX2" fmla="*/ 3086100 w 3086100"/>
              <a:gd name="connsiteY2" fmla="*/ 0 h 203200"/>
            </a:gdLst>
            <a:ahLst/>
            <a:cxnLst>
              <a:cxn ang="0">
                <a:pos x="connsiteX0" y="connsiteY0"/>
              </a:cxn>
              <a:cxn ang="0">
                <a:pos x="connsiteX1" y="connsiteY1"/>
              </a:cxn>
              <a:cxn ang="0">
                <a:pos x="connsiteX2" y="connsiteY2"/>
              </a:cxn>
            </a:cxnLst>
            <a:rect l="l" t="t" r="r" b="b"/>
            <a:pathLst>
              <a:path w="3086100" h="203200">
                <a:moveTo>
                  <a:pt x="0" y="203200"/>
                </a:moveTo>
                <a:lnTo>
                  <a:pt x="203200" y="0"/>
                </a:lnTo>
                <a:lnTo>
                  <a:pt x="3086100" y="0"/>
                </a:lnTo>
              </a:path>
            </a:pathLst>
          </a:custGeom>
          <a:noFill/>
          <a:ln w="19050">
            <a:solidFill>
              <a:schemeClr val="bg1">
                <a:alpha val="1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9" name="Freeform 788"/>
          <p:cNvSpPr/>
          <p:nvPr/>
        </p:nvSpPr>
        <p:spPr>
          <a:xfrm>
            <a:off x="10387499" y="4947916"/>
            <a:ext cx="277106" cy="399358"/>
          </a:xfrm>
          <a:custGeom>
            <a:avLst/>
            <a:gdLst>
              <a:gd name="connsiteX0" fmla="*/ 0 w 259080"/>
              <a:gd name="connsiteY0" fmla="*/ 373380 h 373380"/>
              <a:gd name="connsiteX1" fmla="*/ 0 w 259080"/>
              <a:gd name="connsiteY1" fmla="*/ 259080 h 373380"/>
              <a:gd name="connsiteX2" fmla="*/ 259080 w 259080"/>
              <a:gd name="connsiteY2" fmla="*/ 0 h 373380"/>
            </a:gdLst>
            <a:ahLst/>
            <a:cxnLst>
              <a:cxn ang="0">
                <a:pos x="connsiteX0" y="connsiteY0"/>
              </a:cxn>
              <a:cxn ang="0">
                <a:pos x="connsiteX1" y="connsiteY1"/>
              </a:cxn>
              <a:cxn ang="0">
                <a:pos x="connsiteX2" y="connsiteY2"/>
              </a:cxn>
            </a:cxnLst>
            <a:rect l="l" t="t" r="r" b="b"/>
            <a:pathLst>
              <a:path w="259080" h="373380">
                <a:moveTo>
                  <a:pt x="0" y="373380"/>
                </a:moveTo>
                <a:lnTo>
                  <a:pt x="0" y="259080"/>
                </a:lnTo>
                <a:lnTo>
                  <a:pt x="25908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90" name="Freeform 789"/>
          <p:cNvSpPr/>
          <p:nvPr/>
        </p:nvSpPr>
        <p:spPr>
          <a:xfrm>
            <a:off x="11104712" y="5102766"/>
            <a:ext cx="163004" cy="268956"/>
          </a:xfrm>
          <a:custGeom>
            <a:avLst/>
            <a:gdLst>
              <a:gd name="connsiteX0" fmla="*/ 0 w 152400"/>
              <a:gd name="connsiteY0" fmla="*/ 251460 h 251460"/>
              <a:gd name="connsiteX1" fmla="*/ 0 w 152400"/>
              <a:gd name="connsiteY1" fmla="*/ 152400 h 251460"/>
              <a:gd name="connsiteX2" fmla="*/ 152400 w 152400"/>
              <a:gd name="connsiteY2" fmla="*/ 0 h 251460"/>
            </a:gdLst>
            <a:ahLst/>
            <a:cxnLst>
              <a:cxn ang="0">
                <a:pos x="connsiteX0" y="connsiteY0"/>
              </a:cxn>
              <a:cxn ang="0">
                <a:pos x="connsiteX1" y="connsiteY1"/>
              </a:cxn>
              <a:cxn ang="0">
                <a:pos x="connsiteX2" y="connsiteY2"/>
              </a:cxn>
            </a:cxnLst>
            <a:rect l="l" t="t" r="r" b="b"/>
            <a:pathLst>
              <a:path w="152400" h="251460">
                <a:moveTo>
                  <a:pt x="0" y="251460"/>
                </a:moveTo>
                <a:lnTo>
                  <a:pt x="0" y="152400"/>
                </a:lnTo>
                <a:lnTo>
                  <a:pt x="1524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91" name="Freeform 790"/>
          <p:cNvSpPr/>
          <p:nvPr/>
        </p:nvSpPr>
        <p:spPr>
          <a:xfrm>
            <a:off x="9368726" y="5714030"/>
            <a:ext cx="676464" cy="823167"/>
          </a:xfrm>
          <a:custGeom>
            <a:avLst/>
            <a:gdLst>
              <a:gd name="connsiteX0" fmla="*/ 632460 w 632460"/>
              <a:gd name="connsiteY0" fmla="*/ 0 h 769620"/>
              <a:gd name="connsiteX1" fmla="*/ 464820 w 632460"/>
              <a:gd name="connsiteY1" fmla="*/ 0 h 769620"/>
              <a:gd name="connsiteX2" fmla="*/ 464820 w 632460"/>
              <a:gd name="connsiteY2" fmla="*/ 304800 h 769620"/>
              <a:gd name="connsiteX3" fmla="*/ 0 w 632460"/>
              <a:gd name="connsiteY3" fmla="*/ 769620 h 769620"/>
            </a:gdLst>
            <a:ahLst/>
            <a:cxnLst>
              <a:cxn ang="0">
                <a:pos x="connsiteX0" y="connsiteY0"/>
              </a:cxn>
              <a:cxn ang="0">
                <a:pos x="connsiteX1" y="connsiteY1"/>
              </a:cxn>
              <a:cxn ang="0">
                <a:pos x="connsiteX2" y="connsiteY2"/>
              </a:cxn>
              <a:cxn ang="0">
                <a:pos x="connsiteX3" y="connsiteY3"/>
              </a:cxn>
            </a:cxnLst>
            <a:rect l="l" t="t" r="r" b="b"/>
            <a:pathLst>
              <a:path w="632460" h="769620">
                <a:moveTo>
                  <a:pt x="632460" y="0"/>
                </a:moveTo>
                <a:lnTo>
                  <a:pt x="464820" y="0"/>
                </a:lnTo>
                <a:lnTo>
                  <a:pt x="464820" y="304800"/>
                </a:lnTo>
                <a:lnTo>
                  <a:pt x="0" y="76962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pic>
        <p:nvPicPr>
          <p:cNvPr id="2" name="Picture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03" y="1"/>
            <a:ext cx="2231124" cy="820704"/>
          </a:xfrm>
          <a:prstGeom prst="rect">
            <a:avLst/>
          </a:prstGeom>
        </p:spPr>
      </p:pic>
      <p:sp>
        <p:nvSpPr>
          <p:cNvPr id="4" name="TextBox 3"/>
          <p:cNvSpPr txBox="1"/>
          <p:nvPr/>
        </p:nvSpPr>
        <p:spPr>
          <a:xfrm>
            <a:off x="229690" y="4096004"/>
            <a:ext cx="6788469" cy="2569136"/>
          </a:xfrm>
          <a:prstGeom prst="rect">
            <a:avLst/>
          </a:prstGeom>
        </p:spPr>
        <p:txBody>
          <a:bodyPr vert="horz" wrap="square" lIns="93260" tIns="93260" rIns="93260" bIns="93260" rtlCol="0" anchor="t">
            <a:noAutofit/>
          </a:bodyPr>
          <a:lstStyle/>
          <a:p>
            <a:pPr marL="0" marR="0" lvl="0" indent="0" algn="ctr" defTabSz="932520" rtl="0" eaLnBrk="1" fontAlgn="auto" latinLnBrk="0" hangingPunct="1">
              <a:lnSpc>
                <a:spcPct val="100000"/>
              </a:lnSpc>
              <a:spcBef>
                <a:spcPts val="1224"/>
              </a:spcBef>
              <a:spcAft>
                <a:spcPts val="0"/>
              </a:spcAft>
              <a:buClrTx/>
              <a:buSzTx/>
              <a:buFontTx/>
              <a:buNone/>
              <a:tabLst/>
              <a:defRPr/>
            </a:pPr>
            <a:r>
              <a:rPr kumimoji="0" lang="en-US" sz="3400" b="1" i="0" u="none" strike="noStrike" kern="0" cap="none" spc="0" normalizeH="0" baseline="0" noProof="0" dirty="0">
                <a:ln>
                  <a:noFill/>
                </a:ln>
                <a:solidFill>
                  <a:srgbClr val="0072C6"/>
                </a:solidFill>
                <a:effectLst/>
                <a:uLnTx/>
                <a:uFillTx/>
                <a:latin typeface="Segoe UI Light"/>
                <a:ea typeface="+mn-ea"/>
                <a:cs typeface="+mn-cs"/>
              </a:rPr>
              <a:t>Microsoft Business Analytics and AI </a:t>
            </a:r>
          </a:p>
          <a:p>
            <a:pPr lvl="0" algn="ctr" defTabSz="932520">
              <a:spcBef>
                <a:spcPts val="1224"/>
              </a:spcBef>
              <a:defRPr/>
            </a:pPr>
            <a:r>
              <a:rPr lang="en-US" sz="2800" b="1" kern="0" spc="-102" dirty="0">
                <a:ln w="3175">
                  <a:noFill/>
                </a:ln>
                <a:solidFill>
                  <a:srgbClr val="0072C6"/>
                </a:solidFill>
                <a:latin typeface="Segoe UI Light"/>
              </a:rPr>
              <a:t>Building Solutions – Business Understanding</a:t>
            </a:r>
            <a:endParaRPr kumimoji="0" lang="en-US" sz="2000" b="0" i="0" u="none" strike="noStrike" kern="0" cap="none" spc="0" normalizeH="0" baseline="0" noProof="0" dirty="0">
              <a:ln>
                <a:noFill/>
              </a:ln>
              <a:solidFill>
                <a:srgbClr val="FFFFFF">
                  <a:lumMod val="75000"/>
                </a:srgbClr>
              </a:solidFill>
              <a:effectLst/>
              <a:uLnTx/>
              <a:uFillTx/>
              <a:latin typeface="Segoe UI Light"/>
              <a:ea typeface="+mn-ea"/>
              <a:cs typeface="+mn-cs"/>
            </a:endParaRPr>
          </a:p>
          <a:p>
            <a:pPr marL="0" marR="0" lvl="0" indent="0" algn="ctr" defTabSz="914400" rtl="0" eaLnBrk="1" fontAlgn="auto" latinLnBrk="0" hangingPunct="1">
              <a:lnSpc>
                <a:spcPct val="90000"/>
              </a:lnSpc>
              <a:spcBef>
                <a:spcPts val="0"/>
              </a:spcBef>
              <a:spcAft>
                <a:spcPts val="0"/>
              </a:spcAft>
              <a:buClrTx/>
              <a:buSzPct val="90000"/>
              <a:buFontTx/>
              <a:buNone/>
              <a:tabLst/>
              <a:defRPr/>
            </a:pPr>
            <a:endParaRPr kumimoji="0" lang="en-US" sz="2000" b="0" i="0" u="none" strike="noStrike" kern="0" cap="none" spc="0" normalizeH="0" baseline="0" noProof="0" dirty="0">
              <a:ln>
                <a:noFill/>
              </a:ln>
              <a:solidFill>
                <a:prstClr val="white">
                  <a:lumMod val="50000"/>
                </a:prstClr>
              </a:solidFill>
              <a:effectLst/>
              <a:uLnTx/>
              <a:uFillTx/>
              <a:latin typeface="Segoe UI Light"/>
              <a:ea typeface="+mn-ea"/>
              <a:cs typeface="+mn-cs"/>
            </a:endParaRPr>
          </a:p>
          <a:p>
            <a:pPr marL="0" marR="0" lvl="0" indent="0" algn="ctr" defTabSz="914400" rtl="0" eaLnBrk="1" fontAlgn="auto" latinLnBrk="0" hangingPunct="1">
              <a:lnSpc>
                <a:spcPct val="90000"/>
              </a:lnSpc>
              <a:spcBef>
                <a:spcPts val="0"/>
              </a:spcBef>
              <a:spcAft>
                <a:spcPts val="0"/>
              </a:spcAft>
              <a:buClrTx/>
              <a:buSzPct val="90000"/>
              <a:buFontTx/>
              <a:buNone/>
              <a:tabLst/>
              <a:defRPr/>
            </a:pPr>
            <a:r>
              <a:rPr kumimoji="0" lang="en-US" sz="2000" b="0" i="0" u="none" strike="noStrike" kern="0" cap="none" spc="0" normalizeH="0" baseline="0" noProof="0" dirty="0">
                <a:ln>
                  <a:noFill/>
                </a:ln>
                <a:solidFill>
                  <a:prstClr val="white">
                    <a:lumMod val="50000"/>
                  </a:prstClr>
                </a:solidFill>
                <a:effectLst/>
                <a:uLnTx/>
                <a:uFillTx/>
                <a:latin typeface="Segoe UI Light"/>
                <a:ea typeface="+mn-ea"/>
                <a:cs typeface="+mn-cs"/>
              </a:rPr>
              <a:t>Microsoft Machine Learning and Data Science Team</a:t>
            </a:r>
          </a:p>
          <a:p>
            <a:pPr lvl="0" algn="ctr" defTabSz="914400">
              <a:lnSpc>
                <a:spcPct val="90000"/>
              </a:lnSpc>
              <a:buSzPct val="90000"/>
              <a:defRPr/>
            </a:pPr>
            <a:r>
              <a:rPr lang="en-US" sz="2400" kern="0" dirty="0">
                <a:solidFill>
                  <a:srgbClr val="00BCF2"/>
                </a:solidFill>
                <a:latin typeface="Segoe UI Light"/>
              </a:rPr>
              <a:t>aka.ms/</a:t>
            </a:r>
            <a:r>
              <a:rPr lang="en-US" sz="2400" kern="0" dirty="0" err="1">
                <a:solidFill>
                  <a:srgbClr val="00BCF2"/>
                </a:solidFill>
                <a:latin typeface="Segoe UI Light"/>
              </a:rPr>
              <a:t>BusinessAnalyticsAndAI</a:t>
            </a:r>
            <a:endParaRPr lang="en-US" sz="2400" kern="0" dirty="0">
              <a:solidFill>
                <a:srgbClr val="00BCF2"/>
              </a:solidFill>
              <a:latin typeface="Segoe UI Light"/>
            </a:endParaRPr>
          </a:p>
        </p:txBody>
      </p:sp>
      <p:pic>
        <p:nvPicPr>
          <p:cNvPr id="304" name="Picture 303"/>
          <p:cNvPicPr>
            <a:picLocks noChangeAspect="1"/>
          </p:cNvPicPr>
          <p:nvPr/>
        </p:nvPicPr>
        <p:blipFill>
          <a:blip r:embed="rId8"/>
          <a:stretch>
            <a:fillRect/>
          </a:stretch>
        </p:blipFill>
        <p:spPr>
          <a:xfrm>
            <a:off x="1720531" y="1540725"/>
            <a:ext cx="877740" cy="1586684"/>
          </a:xfrm>
          <a:prstGeom prst="rect">
            <a:avLst/>
          </a:prstGeom>
        </p:spPr>
      </p:pic>
      <p:pic>
        <p:nvPicPr>
          <p:cNvPr id="305" name="Picture 304"/>
          <p:cNvPicPr>
            <a:picLocks noChangeAspect="1"/>
          </p:cNvPicPr>
          <p:nvPr/>
        </p:nvPicPr>
        <p:blipFill>
          <a:blip r:embed="rId9"/>
          <a:stretch>
            <a:fillRect/>
          </a:stretch>
        </p:blipFill>
        <p:spPr>
          <a:xfrm>
            <a:off x="190544" y="736940"/>
            <a:ext cx="2560320" cy="2560320"/>
          </a:xfrm>
          <a:prstGeom prst="rect">
            <a:avLst/>
          </a:prstGeom>
        </p:spPr>
      </p:pic>
      <p:sp>
        <p:nvSpPr>
          <p:cNvPr id="306" name="Text Placeholder 2"/>
          <p:cNvSpPr txBox="1">
            <a:spLocks/>
          </p:cNvSpPr>
          <p:nvPr/>
        </p:nvSpPr>
        <p:spPr bwMode="auto">
          <a:xfrm>
            <a:off x="5759449" y="4763911"/>
            <a:ext cx="6402388" cy="980673"/>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64646">
                      <a:srgbClr val="FFFFFF"/>
                    </a:gs>
                    <a:gs pos="45000">
                      <a:srgbClr val="FFFFFF"/>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defRPr/>
            </a:pPr>
            <a:endParaRPr kumimoji="0" lang="en-US" sz="2400" b="0" i="0" u="none" strike="noStrike" kern="1200" cap="none" spc="0" normalizeH="0" baseline="0" noProof="0" dirty="0">
              <a:ln>
                <a:noFill/>
              </a:ln>
              <a:solidFill>
                <a:srgbClr val="00BCF2"/>
              </a:solidFill>
              <a:effectLst/>
              <a:uLnTx/>
              <a:uFillTx/>
              <a:latin typeface="Segoe UI Light"/>
              <a:ea typeface="+mn-ea"/>
              <a:cs typeface="+mn-cs"/>
            </a:endParaRPr>
          </a:p>
        </p:txBody>
      </p:sp>
    </p:spTree>
    <p:extLst>
      <p:ext uri="{BB962C8B-B14F-4D97-AF65-F5344CB8AC3E}">
        <p14:creationId xmlns:p14="http://schemas.microsoft.com/office/powerpoint/2010/main" val="3070486084"/>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1" y="0"/>
            <a:ext cx="3698543" cy="1992573"/>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102" normalizeH="0" baseline="0" noProof="0" dirty="0">
                <a:ln w="3175">
                  <a:noFill/>
                </a:ln>
                <a:solidFill>
                  <a:schemeClr val="tx1">
                    <a:lumMod val="50000"/>
                  </a:schemeClr>
                </a:solidFill>
                <a:effectLst/>
                <a:uLnTx/>
                <a:uFillTx/>
                <a:latin typeface="+mj-lt"/>
                <a:ea typeface="+mn-ea"/>
                <a:cs typeface="Segoe UI" pitchFamily="34" charset="0"/>
              </a:rPr>
              <a:t>Data Processing Technologies</a:t>
            </a:r>
            <a:endParaRPr kumimoji="0" lang="en-US" sz="4000" b="0" i="0" u="none" strike="noStrike" kern="1200" cap="none" spc="-102" normalizeH="0" baseline="0" noProof="0" dirty="0">
              <a:ln w="3175">
                <a:noFill/>
              </a:ln>
              <a:solidFill>
                <a:schemeClr val="tx1">
                  <a:lumMod val="50000"/>
                </a:schemeClr>
              </a:solidFill>
              <a:effectLst/>
              <a:uLnTx/>
              <a:uFillTx/>
              <a:latin typeface="+mj-lt"/>
              <a:ea typeface="+mn-ea"/>
              <a:cs typeface="Segoe UI" pitchFamily="34" charset="0"/>
            </a:endParaRPr>
          </a:p>
        </p:txBody>
      </p:sp>
      <p:pic>
        <p:nvPicPr>
          <p:cNvPr id="2" name="Picture 1"/>
          <p:cNvPicPr>
            <a:picLocks noChangeAspect="1"/>
          </p:cNvPicPr>
          <p:nvPr/>
        </p:nvPicPr>
        <p:blipFill>
          <a:blip r:embed="rId3"/>
          <a:stretch>
            <a:fillRect/>
          </a:stretch>
        </p:blipFill>
        <p:spPr>
          <a:xfrm>
            <a:off x="3233135" y="37437"/>
            <a:ext cx="9071754" cy="6924237"/>
          </a:xfrm>
          <a:prstGeom prst="rect">
            <a:avLst/>
          </a:prstGeom>
        </p:spPr>
      </p:pic>
    </p:spTree>
    <p:extLst>
      <p:ext uri="{BB962C8B-B14F-4D97-AF65-F5344CB8AC3E}">
        <p14:creationId xmlns:p14="http://schemas.microsoft.com/office/powerpoint/2010/main" val="3962031379"/>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1" y="1"/>
            <a:ext cx="12436475" cy="777922"/>
          </a:xfrm>
          <a:prstGeom prst="rect">
            <a:avLst/>
          </a:prstGeom>
        </p:spPr>
        <p:txBody>
          <a:bodyPr vert="horz" wrap="square" lIns="146304" tIns="91440" rIns="146304" bIns="91440" rtlCol="0" anchor="t">
            <a:noAutofit/>
          </a:bodyPr>
          <a:lstStyle>
            <a:lvl1pPr>
              <a:lnSpc>
                <a:spcPct val="90000"/>
              </a:lnSpc>
              <a:spcBef>
                <a:spcPct val="0"/>
              </a:spcBef>
              <a:buNone/>
              <a:defRPr lang="en-US" sz="4800" b="0" cap="none" spc="-102" baseline="0" dirty="0" smtClean="0">
                <a:ln w="3175">
                  <a:noFill/>
                </a:ln>
                <a:gradFill>
                  <a:gsLst>
                    <a:gs pos="1250">
                      <a:schemeClr val="tx1"/>
                    </a:gs>
                    <a:gs pos="100000">
                      <a:schemeClr val="tx1"/>
                    </a:gs>
                  </a:gsLst>
                  <a:lin ang="5400000" scaled="0"/>
                </a:gradFill>
                <a:effectLst/>
                <a:latin typeface="+mj-lt"/>
                <a:cs typeface="Segoe UI" pitchFamily="34" charset="0"/>
              </a:defRPr>
            </a:lvl1pPr>
          </a:lstStyle>
          <a:p>
            <a:r>
              <a:rPr lang="en-US" dirty="0"/>
              <a:t>Decision Matrix</a:t>
            </a:r>
          </a:p>
        </p:txBody>
      </p:sp>
      <p:graphicFrame>
        <p:nvGraphicFramePr>
          <p:cNvPr id="3" name="Table 2"/>
          <p:cNvGraphicFramePr>
            <a:graphicFrameLocks noGrp="1"/>
          </p:cNvGraphicFramePr>
          <p:nvPr>
            <p:extLst>
              <p:ext uri="{D42A27DB-BD31-4B8C-83A1-F6EECF244321}">
                <p14:modId xmlns:p14="http://schemas.microsoft.com/office/powerpoint/2010/main" val="556311657"/>
              </p:ext>
            </p:extLst>
          </p:nvPr>
        </p:nvGraphicFramePr>
        <p:xfrm>
          <a:off x="291446" y="1279867"/>
          <a:ext cx="11762008" cy="4610611"/>
        </p:xfrm>
        <a:graphic>
          <a:graphicData uri="http://schemas.openxmlformats.org/drawingml/2006/table">
            <a:tbl>
              <a:tblPr firstRow="1" bandRow="1">
                <a:tableStyleId>{00A15C55-8517-42AA-B614-E9B94910E393}</a:tableStyleId>
              </a:tblPr>
              <a:tblGrid>
                <a:gridCol w="2940502">
                  <a:extLst>
                    <a:ext uri="{9D8B030D-6E8A-4147-A177-3AD203B41FA5}">
                      <a16:colId xmlns:a16="http://schemas.microsoft.com/office/drawing/2014/main" val="3118514590"/>
                    </a:ext>
                  </a:extLst>
                </a:gridCol>
                <a:gridCol w="2940502">
                  <a:extLst>
                    <a:ext uri="{9D8B030D-6E8A-4147-A177-3AD203B41FA5}">
                      <a16:colId xmlns:a16="http://schemas.microsoft.com/office/drawing/2014/main" val="1784592678"/>
                    </a:ext>
                  </a:extLst>
                </a:gridCol>
                <a:gridCol w="2940502">
                  <a:extLst>
                    <a:ext uri="{9D8B030D-6E8A-4147-A177-3AD203B41FA5}">
                      <a16:colId xmlns:a16="http://schemas.microsoft.com/office/drawing/2014/main" val="176907525"/>
                    </a:ext>
                  </a:extLst>
                </a:gridCol>
                <a:gridCol w="2940502">
                  <a:extLst>
                    <a:ext uri="{9D8B030D-6E8A-4147-A177-3AD203B41FA5}">
                      <a16:colId xmlns:a16="http://schemas.microsoft.com/office/drawing/2014/main" val="2978086508"/>
                    </a:ext>
                  </a:extLst>
                </a:gridCol>
              </a:tblGrid>
              <a:tr h="550857">
                <a:tc>
                  <a:txBody>
                    <a:bodyPr/>
                    <a:lstStyle/>
                    <a:p>
                      <a:r>
                        <a:rPr lang="en-US" sz="2000" dirty="0"/>
                        <a:t>Decision</a:t>
                      </a:r>
                    </a:p>
                  </a:txBody>
                  <a:tcPr/>
                </a:tc>
                <a:tc>
                  <a:txBody>
                    <a:bodyPr/>
                    <a:lstStyle/>
                    <a:p>
                      <a:r>
                        <a:rPr lang="en-US" sz="2000" dirty="0"/>
                        <a:t>Technology</a:t>
                      </a:r>
                    </a:p>
                  </a:txBody>
                  <a:tcPr/>
                </a:tc>
                <a:tc>
                  <a:txBody>
                    <a:bodyPr/>
                    <a:lstStyle/>
                    <a:p>
                      <a:r>
                        <a:rPr lang="en-US" sz="2000" dirty="0"/>
                        <a:t>Elements</a:t>
                      </a:r>
                    </a:p>
                  </a:txBody>
                  <a:tcPr/>
                </a:tc>
                <a:tc>
                  <a:txBody>
                    <a:bodyPr/>
                    <a:lstStyle/>
                    <a:p>
                      <a:r>
                        <a:rPr lang="en-US" sz="2000" dirty="0"/>
                        <a:t>Rationale</a:t>
                      </a:r>
                    </a:p>
                  </a:txBody>
                  <a:tcPr/>
                </a:tc>
                <a:extLst>
                  <a:ext uri="{0D108BD9-81ED-4DB2-BD59-A6C34878D82A}">
                    <a16:rowId xmlns:a16="http://schemas.microsoft.com/office/drawing/2014/main" val="371224469"/>
                  </a:ext>
                </a:extLst>
              </a:tr>
              <a:tr h="950794">
                <a:tc>
                  <a:txBody>
                    <a:bodyPr/>
                    <a:lstStyle/>
                    <a:p>
                      <a:r>
                        <a:rPr lang="en-US" sz="2000" dirty="0"/>
                        <a:t>Large amounts of semi-structured</a:t>
                      </a:r>
                      <a:r>
                        <a:rPr lang="en-US" sz="2000" baseline="0" dirty="0"/>
                        <a:t> data</a:t>
                      </a:r>
                      <a:endParaRPr lang="en-US" sz="2000" dirty="0"/>
                    </a:p>
                  </a:txBody>
                  <a:tcPr/>
                </a:tc>
                <a:tc>
                  <a:txBody>
                    <a:bodyPr/>
                    <a:lstStyle/>
                    <a:p>
                      <a:r>
                        <a:rPr lang="en-US" sz="2000" dirty="0"/>
                        <a:t>Azure Tables</a:t>
                      </a:r>
                    </a:p>
                  </a:txBody>
                  <a:tcPr/>
                </a:tc>
                <a:tc>
                  <a:txBody>
                    <a:bodyPr/>
                    <a:lstStyle/>
                    <a:p>
                      <a:r>
                        <a:rPr lang="en-US" sz="2000" dirty="0"/>
                        <a:t>Scale, KVP, Multi-access</a:t>
                      </a:r>
                    </a:p>
                  </a:txBody>
                  <a:tcPr/>
                </a:tc>
                <a:tc>
                  <a:txBody>
                    <a:bodyPr/>
                    <a:lstStyle/>
                    <a:p>
                      <a:r>
                        <a:rPr lang="en-US" sz="2000" dirty="0"/>
                        <a:t>Can be used by multiple</a:t>
                      </a:r>
                      <a:r>
                        <a:rPr lang="en-US" sz="2000" baseline="0" dirty="0"/>
                        <a:t> technologies or queried </a:t>
                      </a:r>
                      <a:endParaRPr lang="en-US" sz="2000" dirty="0"/>
                    </a:p>
                  </a:txBody>
                  <a:tcPr/>
                </a:tc>
                <a:extLst>
                  <a:ext uri="{0D108BD9-81ED-4DB2-BD59-A6C34878D82A}">
                    <a16:rowId xmlns:a16="http://schemas.microsoft.com/office/drawing/2014/main" val="159607381"/>
                  </a:ext>
                </a:extLst>
              </a:tr>
              <a:tr h="550857">
                <a:tc>
                  <a:txBody>
                    <a:bodyPr/>
                    <a:lstStyle/>
                    <a:p>
                      <a:r>
                        <a:rPr lang="en-US" sz="2000" dirty="0"/>
                        <a:t>Fast, multiple</a:t>
                      </a:r>
                      <a:r>
                        <a:rPr lang="en-US" sz="2000" baseline="0" dirty="0"/>
                        <a:t> sources of data</a:t>
                      </a:r>
                      <a:endParaRPr lang="en-US" sz="2000" dirty="0"/>
                    </a:p>
                  </a:txBody>
                  <a:tcPr/>
                </a:tc>
                <a:tc>
                  <a:txBody>
                    <a:bodyPr/>
                    <a:lstStyle/>
                    <a:p>
                      <a:r>
                        <a:rPr lang="en-US" sz="2000" dirty="0"/>
                        <a:t>Event Hubs, Stream</a:t>
                      </a:r>
                      <a:r>
                        <a:rPr lang="en-US" sz="2000" baseline="0" dirty="0"/>
                        <a:t> Analytics</a:t>
                      </a:r>
                      <a:endParaRPr lang="en-US" sz="2000" dirty="0"/>
                    </a:p>
                  </a:txBody>
                  <a:tcPr/>
                </a:tc>
                <a:tc>
                  <a:txBody>
                    <a:bodyPr/>
                    <a:lstStyle/>
                    <a:p>
                      <a:r>
                        <a:rPr lang="en-US" sz="2000" dirty="0"/>
                        <a:t>Speed, complex</a:t>
                      </a:r>
                      <a:r>
                        <a:rPr lang="en-US" sz="2000" baseline="0" dirty="0"/>
                        <a:t> processing</a:t>
                      </a:r>
                      <a:endParaRPr lang="en-US" sz="2000" dirty="0"/>
                    </a:p>
                  </a:txBody>
                  <a:tcPr/>
                </a:tc>
                <a:tc>
                  <a:txBody>
                    <a:bodyPr/>
                    <a:lstStyle/>
                    <a:p>
                      <a:r>
                        <a:rPr lang="en-US" sz="2000" dirty="0"/>
                        <a:t>Fast Ingestion of massive datasets</a:t>
                      </a:r>
                    </a:p>
                  </a:txBody>
                  <a:tcPr/>
                </a:tc>
                <a:extLst>
                  <a:ext uri="{0D108BD9-81ED-4DB2-BD59-A6C34878D82A}">
                    <a16:rowId xmlns:a16="http://schemas.microsoft.com/office/drawing/2014/main" val="3257407228"/>
                  </a:ext>
                </a:extLst>
              </a:tr>
              <a:tr h="550857">
                <a:tc>
                  <a:txBody>
                    <a:bodyPr/>
                    <a:lstStyle/>
                    <a:p>
                      <a:r>
                        <a:rPr lang="en-US" sz="2000" dirty="0"/>
                        <a:t>Anomaly</a:t>
                      </a:r>
                      <a:r>
                        <a:rPr lang="en-US" sz="2000" baseline="0" dirty="0"/>
                        <a:t> detection</a:t>
                      </a:r>
                      <a:endParaRPr lang="en-US" sz="2000" dirty="0"/>
                    </a:p>
                  </a:txBody>
                  <a:tcPr/>
                </a:tc>
                <a:tc>
                  <a:txBody>
                    <a:bodyPr/>
                    <a:lstStyle/>
                    <a:p>
                      <a:r>
                        <a:rPr lang="en-US" sz="2000" dirty="0"/>
                        <a:t>Azure ML</a:t>
                      </a:r>
                    </a:p>
                  </a:txBody>
                  <a:tcPr/>
                </a:tc>
                <a:tc>
                  <a:txBody>
                    <a:bodyPr/>
                    <a:lstStyle/>
                    <a:p>
                      <a:r>
                        <a:rPr lang="en-US" sz="2000" dirty="0"/>
                        <a:t>API-Driven</a:t>
                      </a:r>
                      <a:r>
                        <a:rPr lang="en-US" sz="2000" baseline="0" dirty="0"/>
                        <a:t> detection</a:t>
                      </a:r>
                      <a:endParaRPr lang="en-US" sz="2000" dirty="0"/>
                    </a:p>
                  </a:txBody>
                  <a:tcPr/>
                </a:tc>
                <a:tc>
                  <a:txBody>
                    <a:bodyPr/>
                    <a:lstStyle/>
                    <a:p>
                      <a:r>
                        <a:rPr lang="en-US" sz="2000" dirty="0"/>
                        <a:t>Built-in</a:t>
                      </a:r>
                      <a:r>
                        <a:rPr lang="en-US" sz="2000" baseline="0" dirty="0"/>
                        <a:t> algorithms, multi-dev</a:t>
                      </a:r>
                      <a:endParaRPr lang="en-US" sz="2000" dirty="0"/>
                    </a:p>
                  </a:txBody>
                  <a:tcPr/>
                </a:tc>
                <a:extLst>
                  <a:ext uri="{0D108BD9-81ED-4DB2-BD59-A6C34878D82A}">
                    <a16:rowId xmlns:a16="http://schemas.microsoft.com/office/drawing/2014/main" val="3359449905"/>
                  </a:ext>
                </a:extLst>
              </a:tr>
              <a:tr h="550857">
                <a:tc>
                  <a:txBody>
                    <a:bodyPr/>
                    <a:lstStyle/>
                    <a:p>
                      <a:r>
                        <a:rPr lang="en-US" sz="2000" dirty="0"/>
                        <a:t>Reporting </a:t>
                      </a:r>
                    </a:p>
                  </a:txBody>
                  <a:tcPr/>
                </a:tc>
                <a:tc>
                  <a:txBody>
                    <a:bodyPr/>
                    <a:lstStyle/>
                    <a:p>
                      <a:r>
                        <a:rPr lang="en-US" sz="2000" dirty="0"/>
                        <a:t>SQL DB, Power</a:t>
                      </a:r>
                      <a:r>
                        <a:rPr lang="en-US" sz="2000" baseline="0" dirty="0"/>
                        <a:t> BI</a:t>
                      </a:r>
                      <a:endParaRPr lang="en-US" sz="2000" dirty="0"/>
                    </a:p>
                  </a:txBody>
                  <a:tcPr/>
                </a:tc>
                <a:tc>
                  <a:txBody>
                    <a:bodyPr/>
                    <a:lstStyle/>
                    <a:p>
                      <a:r>
                        <a:rPr lang="en-US" sz="2000" dirty="0"/>
                        <a:t>Ease of reporting, data visualization</a:t>
                      </a:r>
                    </a:p>
                  </a:txBody>
                  <a:tcPr/>
                </a:tc>
                <a:tc>
                  <a:txBody>
                    <a:bodyPr/>
                    <a:lstStyle/>
                    <a:p>
                      <a:r>
                        <a:rPr lang="en-US" sz="2000" dirty="0"/>
                        <a:t>Standard queries, action-based visualizations</a:t>
                      </a:r>
                    </a:p>
                  </a:txBody>
                  <a:tcPr/>
                </a:tc>
                <a:extLst>
                  <a:ext uri="{0D108BD9-81ED-4DB2-BD59-A6C34878D82A}">
                    <a16:rowId xmlns:a16="http://schemas.microsoft.com/office/drawing/2014/main" val="2017934572"/>
                  </a:ext>
                </a:extLst>
              </a:tr>
              <a:tr h="550857">
                <a:tc>
                  <a:txBody>
                    <a:bodyPr/>
                    <a:lstStyle/>
                    <a:p>
                      <a:r>
                        <a:rPr lang="en-US" sz="2000" dirty="0"/>
                        <a:t>System</a:t>
                      </a:r>
                      <a:r>
                        <a:rPr lang="en-US" sz="2000" baseline="0" dirty="0"/>
                        <a:t> monitoring and management</a:t>
                      </a:r>
                      <a:endParaRPr lang="en-US" sz="2000" dirty="0"/>
                    </a:p>
                  </a:txBody>
                  <a:tcPr/>
                </a:tc>
                <a:tc>
                  <a:txBody>
                    <a:bodyPr/>
                    <a:lstStyle/>
                    <a:p>
                      <a:r>
                        <a:rPr lang="en-US" sz="2000" dirty="0"/>
                        <a:t>Azure Data Factory,</a:t>
                      </a:r>
                      <a:r>
                        <a:rPr lang="en-US" sz="2000" baseline="0" dirty="0"/>
                        <a:t> Application Insights</a:t>
                      </a:r>
                      <a:endParaRPr lang="en-US" sz="2000" dirty="0"/>
                    </a:p>
                  </a:txBody>
                  <a:tcPr/>
                </a:tc>
                <a:tc>
                  <a:txBody>
                    <a:bodyPr/>
                    <a:lstStyle/>
                    <a:p>
                      <a:r>
                        <a:rPr lang="en-US" sz="2000" dirty="0"/>
                        <a:t>Actionable</a:t>
                      </a:r>
                      <a:r>
                        <a:rPr lang="en-US" sz="2000" baseline="0" dirty="0"/>
                        <a:t> s</a:t>
                      </a:r>
                      <a:r>
                        <a:rPr lang="en-US" sz="2000" dirty="0"/>
                        <a:t>ystem metrics</a:t>
                      </a:r>
                    </a:p>
                  </a:txBody>
                  <a:tcPr/>
                </a:tc>
                <a:tc>
                  <a:txBody>
                    <a:bodyPr/>
                    <a:lstStyle/>
                    <a:p>
                      <a:r>
                        <a:rPr lang="en-US" sz="2000" dirty="0"/>
                        <a:t>OOB or</a:t>
                      </a:r>
                      <a:r>
                        <a:rPr lang="en-US" sz="2000" baseline="0" dirty="0"/>
                        <a:t>chestration and reporting</a:t>
                      </a:r>
                      <a:endParaRPr lang="en-US" sz="2000" dirty="0"/>
                    </a:p>
                  </a:txBody>
                  <a:tcPr/>
                </a:tc>
                <a:extLst>
                  <a:ext uri="{0D108BD9-81ED-4DB2-BD59-A6C34878D82A}">
                    <a16:rowId xmlns:a16="http://schemas.microsoft.com/office/drawing/2014/main" val="2680380203"/>
                  </a:ext>
                </a:extLst>
              </a:tr>
            </a:tbl>
          </a:graphicData>
        </a:graphic>
      </p:graphicFrame>
    </p:spTree>
    <p:extLst>
      <p:ext uri="{BB962C8B-B14F-4D97-AF65-F5344CB8AC3E}">
        <p14:creationId xmlns:p14="http://schemas.microsoft.com/office/powerpoint/2010/main" val="2576933597"/>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1" y="0"/>
            <a:ext cx="12436475" cy="817581"/>
          </a:xfrm>
          <a:prstGeom prst="rect">
            <a:avLst/>
          </a:prstGeom>
        </p:spPr>
        <p:txBody>
          <a:bodyPr vert="horz" wrap="square" lIns="146304" tIns="91440" rIns="146304" bIns="91440" rtlCol="0" anchor="t">
            <a:noAutofit/>
          </a:bodyPr>
          <a:lstStyle>
            <a:lvl1pPr>
              <a:lnSpc>
                <a:spcPct val="90000"/>
              </a:lnSpc>
              <a:spcBef>
                <a:spcPct val="0"/>
              </a:spcBef>
              <a:buNone/>
              <a:defRPr lang="en-US" sz="4800" b="0" cap="none" spc="-102" baseline="0" dirty="0" smtClean="0">
                <a:ln w="3175">
                  <a:noFill/>
                </a:ln>
                <a:gradFill>
                  <a:gsLst>
                    <a:gs pos="1250">
                      <a:schemeClr val="tx1"/>
                    </a:gs>
                    <a:gs pos="100000">
                      <a:schemeClr val="tx1"/>
                    </a:gs>
                  </a:gsLst>
                  <a:lin ang="5400000" scaled="0"/>
                </a:gradFill>
                <a:effectLst/>
                <a:latin typeface="+mj-lt"/>
                <a:cs typeface="Segoe UI" pitchFamily="34" charset="0"/>
              </a:defRPr>
            </a:lvl1pPr>
          </a:lstStyle>
          <a:p>
            <a:r>
              <a:rPr lang="en-US" dirty="0"/>
              <a:t>Create a Solution Workflow</a:t>
            </a:r>
          </a:p>
        </p:txBody>
      </p:sp>
      <p:pic>
        <p:nvPicPr>
          <p:cNvPr id="2" name="Picture 1"/>
          <p:cNvPicPr>
            <a:picLocks noChangeAspect="1"/>
          </p:cNvPicPr>
          <p:nvPr/>
        </p:nvPicPr>
        <p:blipFill>
          <a:blip r:embed="rId3"/>
          <a:stretch>
            <a:fillRect/>
          </a:stretch>
        </p:blipFill>
        <p:spPr>
          <a:xfrm>
            <a:off x="898526" y="817581"/>
            <a:ext cx="10826748" cy="6014860"/>
          </a:xfrm>
          <a:prstGeom prst="rect">
            <a:avLst/>
          </a:prstGeom>
        </p:spPr>
      </p:pic>
      <p:pic>
        <p:nvPicPr>
          <p:cNvPr id="3" name="Picture 2"/>
          <p:cNvPicPr>
            <a:picLocks noChangeAspect="1"/>
          </p:cNvPicPr>
          <p:nvPr/>
        </p:nvPicPr>
        <p:blipFill>
          <a:blip r:embed="rId4"/>
          <a:stretch>
            <a:fillRect/>
          </a:stretch>
        </p:blipFill>
        <p:spPr>
          <a:xfrm>
            <a:off x="189618" y="1118697"/>
            <a:ext cx="12079001" cy="5765807"/>
          </a:xfrm>
          <a:prstGeom prst="rect">
            <a:avLst/>
          </a:prstGeom>
        </p:spPr>
      </p:pic>
    </p:spTree>
    <p:extLst>
      <p:ext uri="{BB962C8B-B14F-4D97-AF65-F5344CB8AC3E}">
        <p14:creationId xmlns:p14="http://schemas.microsoft.com/office/powerpoint/2010/main" val="14327787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0" y="0"/>
            <a:ext cx="12436475" cy="811037"/>
          </a:xfrm>
        </p:spPr>
        <p:txBody>
          <a:bodyPr vert="horz" wrap="square" lIns="146304" tIns="91440" rIns="146304" bIns="91440" rtlCol="0" anchor="t">
            <a:noAutofit/>
          </a:bodyPr>
          <a:lstStyle/>
          <a:p>
            <a:r>
              <a:rPr lang="en-US" dirty="0"/>
              <a:t>Identify Data Sources</a:t>
            </a:r>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rgbClr val="505050">
                  <a:tint val="75000"/>
                </a:srgbClr>
              </a:solidFill>
              <a:effectLst/>
              <a:uLnTx/>
              <a:uFillTx/>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71600713"/>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1"/>
            <a:ext cx="12436475" cy="818866"/>
          </a:xfrm>
        </p:spPr>
        <p:txBody>
          <a:bodyPr vert="horz" wrap="square" lIns="146304" tIns="91440" rIns="146304" bIns="91440" rtlCol="0" anchor="t">
            <a:noAutofit/>
          </a:bodyPr>
          <a:lstStyle/>
          <a:p>
            <a:r>
              <a:rPr lang="en-US" dirty="0"/>
              <a:t>Locating and Inspecting data</a:t>
            </a:r>
          </a:p>
        </p:txBody>
      </p:sp>
      <p:sp>
        <p:nvSpPr>
          <p:cNvPr id="5" name="Text Placeholder 3"/>
          <p:cNvSpPr txBox="1">
            <a:spLocks/>
          </p:cNvSpPr>
          <p:nvPr/>
        </p:nvSpPr>
        <p:spPr>
          <a:xfrm>
            <a:off x="5085082" y="1242119"/>
            <a:ext cx="6172528" cy="4897259"/>
          </a:xfrm>
          <a:prstGeom prst="rect">
            <a:avLst/>
          </a:prstGeom>
        </p:spPr>
        <p:txBody>
          <a:bodyPr vert="horz" wrap="square" lIns="149217" tIns="93260" rIns="149217" bIns="93260" rtlCol="0" anchor="t">
            <a:spAutoFit/>
          </a:bodyPr>
          <a:lstStyle>
            <a:lvl1pPr marL="336145" marR="0" indent="-336145" algn="l" defTabSz="914367" rtl="0" eaLnBrk="1" fontAlgn="auto" latinLnBrk="0" hangingPunct="1">
              <a:lnSpc>
                <a:spcPct val="90000"/>
              </a:lnSpc>
              <a:spcBef>
                <a:spcPct val="20000"/>
              </a:spcBef>
              <a:spcAft>
                <a:spcPts val="0"/>
              </a:spcAft>
              <a:buClr>
                <a:schemeClr val="tx2"/>
              </a:buClr>
              <a:buSzPct val="90000"/>
              <a:buFont typeface="Wingdings" panose="05000000000000000000" pitchFamily="2" charset="2"/>
              <a:buChar char="§"/>
              <a:tabLst/>
              <a:defRPr sz="3921" kern="1200" spc="0" baseline="0">
                <a:gradFill>
                  <a:gsLst>
                    <a:gs pos="13869">
                      <a:schemeClr val="tx2"/>
                    </a:gs>
                    <a:gs pos="42000">
                      <a:schemeClr val="tx2"/>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32563" rtl="0" eaLnBrk="1" fontAlgn="auto" latinLnBrk="0" hangingPunct="1">
              <a:lnSpc>
                <a:spcPct val="90000"/>
              </a:lnSpc>
              <a:spcBef>
                <a:spcPct val="20000"/>
              </a:spcBef>
              <a:spcAft>
                <a:spcPts val="0"/>
              </a:spcAft>
              <a:buClr>
                <a:schemeClr val="tx2"/>
              </a:buClr>
              <a:buSzPct val="90000"/>
              <a:buFont typeface="Wingdings" panose="05000000000000000000" pitchFamily="2" charset="2"/>
              <a:buNone/>
              <a:tabLst/>
              <a:defRPr/>
            </a:pPr>
            <a:r>
              <a:rPr kumimoji="0" lang="en-US" sz="4080" b="0" i="0" u="none" strike="noStrike" kern="1200" cap="none" spc="0" normalizeH="0" baseline="0" noProof="0" dirty="0">
                <a:ln>
                  <a:noFill/>
                </a:ln>
                <a:gradFill>
                  <a:gsLst>
                    <a:gs pos="13869">
                      <a:schemeClr val="tx2"/>
                    </a:gs>
                    <a:gs pos="42000">
                      <a:schemeClr val="tx2"/>
                    </a:gs>
                  </a:gsLst>
                  <a:lin ang="5400000" scaled="0"/>
                </a:gradFill>
                <a:effectLst/>
                <a:uLnTx/>
                <a:uFillTx/>
                <a:latin typeface="+mj-lt"/>
                <a:ea typeface="+mn-ea"/>
                <a:cs typeface="+mn-cs"/>
              </a:rPr>
              <a:t>Keys to quality source data</a:t>
            </a:r>
          </a:p>
          <a:p>
            <a:pPr marL="0" marR="0" lvl="0" indent="0" algn="l" defTabSz="932563" rtl="0" eaLnBrk="1" fontAlgn="auto" latinLnBrk="0" hangingPunct="1">
              <a:lnSpc>
                <a:spcPct val="90000"/>
              </a:lnSpc>
              <a:spcBef>
                <a:spcPct val="20000"/>
              </a:spcBef>
              <a:spcAft>
                <a:spcPts val="0"/>
              </a:spcAft>
              <a:buClr>
                <a:schemeClr val="tx2"/>
              </a:buClr>
              <a:buSzPct val="90000"/>
              <a:buFont typeface="Wingdings" panose="05000000000000000000" pitchFamily="2" charset="2"/>
              <a:buNone/>
              <a:tabLst/>
              <a:defRPr/>
            </a:pPr>
            <a:endParaRPr kumimoji="0" lang="en-US" sz="4080" b="0" i="0" u="none" strike="noStrike" kern="1200" cap="none" spc="0" normalizeH="0" baseline="0" noProof="0" dirty="0">
              <a:ln>
                <a:noFill/>
              </a:ln>
              <a:gradFill>
                <a:gsLst>
                  <a:gs pos="13869">
                    <a:schemeClr val="tx2"/>
                  </a:gs>
                  <a:gs pos="42000">
                    <a:schemeClr val="tx2"/>
                  </a:gs>
                </a:gsLst>
                <a:lin ang="5400000" scaled="0"/>
              </a:gradFill>
              <a:effectLst/>
              <a:uLnTx/>
              <a:uFillTx/>
              <a:latin typeface="+mj-lt"/>
              <a:ea typeface="+mn-ea"/>
              <a:cs typeface="+mn-cs"/>
            </a:endParaRPr>
          </a:p>
          <a:p>
            <a:pPr marL="342834" marR="0" lvl="0" indent="-342834" algn="l" defTabSz="932563" rtl="0" eaLnBrk="1" fontAlgn="auto" latinLnBrk="0" hangingPunct="1">
              <a:lnSpc>
                <a:spcPct val="90000"/>
              </a:lnSpc>
              <a:spcBef>
                <a:spcPct val="20000"/>
              </a:spcBef>
              <a:spcAft>
                <a:spcPts val="0"/>
              </a:spcAft>
              <a:buClr>
                <a:schemeClr val="tx2"/>
              </a:buClr>
              <a:buSzPct val="90000"/>
              <a:buFont typeface="Wingdings" panose="05000000000000000000" pitchFamily="2" charset="2"/>
              <a:buChar char="§"/>
              <a:tabLst/>
              <a:defRPr/>
            </a:pPr>
            <a:r>
              <a:rPr kumimoji="0" lang="en-US" sz="4080" b="0" i="0" u="none" strike="noStrike" kern="1200" cap="none" spc="0" normalizeH="0" baseline="0" noProof="0" dirty="0">
                <a:ln>
                  <a:noFill/>
                </a:ln>
                <a:gradFill>
                  <a:gsLst>
                    <a:gs pos="13869">
                      <a:schemeClr val="tx2"/>
                    </a:gs>
                    <a:gs pos="42000">
                      <a:schemeClr val="tx2"/>
                    </a:gs>
                  </a:gsLst>
                  <a:lin ang="5400000" scaled="0"/>
                </a:gradFill>
                <a:effectLst/>
                <a:uLnTx/>
                <a:uFillTx/>
                <a:latin typeface="+mj-lt"/>
                <a:ea typeface="+mn-ea"/>
                <a:cs typeface="+mn-cs"/>
              </a:rPr>
              <a:t>Authority</a:t>
            </a:r>
          </a:p>
          <a:p>
            <a:pPr marL="342834" marR="0" lvl="0" indent="-342834" algn="l" defTabSz="932563" rtl="0" eaLnBrk="1" fontAlgn="auto" latinLnBrk="0" hangingPunct="1">
              <a:lnSpc>
                <a:spcPct val="90000"/>
              </a:lnSpc>
              <a:spcBef>
                <a:spcPct val="20000"/>
              </a:spcBef>
              <a:spcAft>
                <a:spcPts val="0"/>
              </a:spcAft>
              <a:buClr>
                <a:schemeClr val="tx2"/>
              </a:buClr>
              <a:buSzPct val="90000"/>
              <a:buFont typeface="Wingdings" panose="05000000000000000000" pitchFamily="2" charset="2"/>
              <a:buChar char="§"/>
              <a:tabLst/>
              <a:defRPr/>
            </a:pPr>
            <a:r>
              <a:rPr kumimoji="0" lang="en-US" sz="4080" b="0" i="0" u="none" strike="noStrike" kern="1200" cap="none" spc="0" normalizeH="0" baseline="0" noProof="0" dirty="0">
                <a:ln>
                  <a:noFill/>
                </a:ln>
                <a:gradFill>
                  <a:gsLst>
                    <a:gs pos="13869">
                      <a:schemeClr val="tx2"/>
                    </a:gs>
                    <a:gs pos="42000">
                      <a:schemeClr val="tx2"/>
                    </a:gs>
                  </a:gsLst>
                  <a:lin ang="5400000" scaled="0"/>
                </a:gradFill>
                <a:effectLst/>
                <a:uLnTx/>
                <a:uFillTx/>
                <a:latin typeface="+mj-lt"/>
                <a:ea typeface="+mn-ea"/>
                <a:cs typeface="+mn-cs"/>
              </a:rPr>
              <a:t>Spread</a:t>
            </a:r>
          </a:p>
          <a:p>
            <a:pPr marL="342834" marR="0" lvl="0" indent="-342834" algn="l" defTabSz="932563" rtl="0" eaLnBrk="1" fontAlgn="auto" latinLnBrk="0" hangingPunct="1">
              <a:lnSpc>
                <a:spcPct val="90000"/>
              </a:lnSpc>
              <a:spcBef>
                <a:spcPct val="20000"/>
              </a:spcBef>
              <a:spcAft>
                <a:spcPts val="0"/>
              </a:spcAft>
              <a:buClr>
                <a:schemeClr val="tx2"/>
              </a:buClr>
              <a:buSzPct val="90000"/>
              <a:buFont typeface="Wingdings" panose="05000000000000000000" pitchFamily="2" charset="2"/>
              <a:buChar char="§"/>
              <a:tabLst/>
              <a:defRPr/>
            </a:pPr>
            <a:r>
              <a:rPr kumimoji="0" lang="en-US" sz="4080" b="0" i="0" u="none" strike="noStrike" kern="1200" cap="none" spc="0" normalizeH="0" baseline="0" noProof="0" dirty="0">
                <a:ln>
                  <a:noFill/>
                </a:ln>
                <a:gradFill>
                  <a:gsLst>
                    <a:gs pos="13869">
                      <a:schemeClr val="tx2"/>
                    </a:gs>
                    <a:gs pos="42000">
                      <a:schemeClr val="tx2"/>
                    </a:gs>
                  </a:gsLst>
                  <a:lin ang="5400000" scaled="0"/>
                </a:gradFill>
                <a:effectLst/>
                <a:uLnTx/>
                <a:uFillTx/>
                <a:latin typeface="+mj-lt"/>
                <a:ea typeface="+mn-ea"/>
                <a:cs typeface="+mn-cs"/>
              </a:rPr>
              <a:t>Consistency</a:t>
            </a:r>
          </a:p>
          <a:p>
            <a:pPr marL="342834" marR="0" lvl="0" indent="-342834" algn="l" defTabSz="932563" rtl="0" eaLnBrk="1" fontAlgn="auto" latinLnBrk="0" hangingPunct="1">
              <a:lnSpc>
                <a:spcPct val="90000"/>
              </a:lnSpc>
              <a:spcBef>
                <a:spcPct val="20000"/>
              </a:spcBef>
              <a:spcAft>
                <a:spcPts val="0"/>
              </a:spcAft>
              <a:buClr>
                <a:schemeClr val="tx2"/>
              </a:buClr>
              <a:buSzPct val="90000"/>
              <a:buFont typeface="Wingdings" panose="05000000000000000000" pitchFamily="2" charset="2"/>
              <a:buChar char="§"/>
              <a:tabLst/>
              <a:defRPr/>
            </a:pPr>
            <a:r>
              <a:rPr kumimoji="0" lang="en-US" sz="4080" b="0" i="0" u="none" strike="noStrike" kern="1200" cap="none" spc="0" normalizeH="0" baseline="0" noProof="0" dirty="0">
                <a:ln>
                  <a:noFill/>
                </a:ln>
                <a:gradFill>
                  <a:gsLst>
                    <a:gs pos="13869">
                      <a:schemeClr val="tx2"/>
                    </a:gs>
                    <a:gs pos="42000">
                      <a:schemeClr val="tx2"/>
                    </a:gs>
                  </a:gsLst>
                  <a:lin ang="5400000" scaled="0"/>
                </a:gradFill>
                <a:effectLst/>
                <a:uLnTx/>
                <a:uFillTx/>
                <a:latin typeface="+mj-lt"/>
                <a:ea typeface="+mn-ea"/>
                <a:cs typeface="+mn-cs"/>
              </a:rPr>
              <a:t>Types and Units</a:t>
            </a:r>
          </a:p>
          <a:p>
            <a:pPr marL="342834" marR="0" lvl="0" indent="-342834" algn="l" defTabSz="932563" rtl="0" eaLnBrk="1" fontAlgn="auto" latinLnBrk="0" hangingPunct="1">
              <a:lnSpc>
                <a:spcPct val="90000"/>
              </a:lnSpc>
              <a:spcBef>
                <a:spcPct val="20000"/>
              </a:spcBef>
              <a:spcAft>
                <a:spcPts val="0"/>
              </a:spcAft>
              <a:buClr>
                <a:schemeClr val="tx2"/>
              </a:buClr>
              <a:buSzPct val="90000"/>
              <a:buFont typeface="Wingdings" panose="05000000000000000000" pitchFamily="2" charset="2"/>
              <a:buChar char="§"/>
              <a:tabLst/>
              <a:defRPr/>
            </a:pPr>
            <a:r>
              <a:rPr kumimoji="0" lang="en-US" sz="4080" b="0" i="0" u="none" strike="noStrike" kern="1200" cap="none" spc="0" normalizeH="0" baseline="0" noProof="0" dirty="0">
                <a:ln>
                  <a:noFill/>
                </a:ln>
                <a:gradFill>
                  <a:gsLst>
                    <a:gs pos="13869">
                      <a:schemeClr val="tx2"/>
                    </a:gs>
                    <a:gs pos="42000">
                      <a:schemeClr val="tx2"/>
                    </a:gs>
                  </a:gsLst>
                  <a:lin ang="5400000" scaled="0"/>
                </a:gradFill>
                <a:effectLst/>
                <a:uLnTx/>
                <a:uFillTx/>
                <a:latin typeface="+mj-lt"/>
                <a:ea typeface="+mn-ea"/>
                <a:cs typeface="+mn-cs"/>
              </a:rPr>
              <a:t>Representation</a:t>
            </a:r>
          </a:p>
        </p:txBody>
      </p:sp>
      <p:pic>
        <p:nvPicPr>
          <p:cNvPr id="11" name="Picture 10"/>
          <p:cNvPicPr>
            <a:picLocks noChangeAspect="1"/>
          </p:cNvPicPr>
          <p:nvPr/>
        </p:nvPicPr>
        <p:blipFill>
          <a:blip r:embed="rId3"/>
          <a:stretch>
            <a:fillRect/>
          </a:stretch>
        </p:blipFill>
        <p:spPr>
          <a:xfrm>
            <a:off x="-581771" y="926389"/>
            <a:ext cx="6153067" cy="6153067"/>
          </a:xfrm>
          <a:prstGeom prst="rect">
            <a:avLst/>
          </a:prstGeom>
        </p:spPr>
      </p:pic>
    </p:spTree>
    <p:extLst>
      <p:ext uri="{BB962C8B-B14F-4D97-AF65-F5344CB8AC3E}">
        <p14:creationId xmlns:p14="http://schemas.microsoft.com/office/powerpoint/2010/main" val="1678050068"/>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659441" y="1951879"/>
            <a:ext cx="7886248" cy="3669988"/>
          </a:xfrm>
        </p:spPr>
        <p:txBody>
          <a:bodyPr>
            <a:normAutofit/>
          </a:bodyPr>
          <a:lstStyle/>
          <a:p>
            <a:pPr marL="742807" indent="-742807">
              <a:buFont typeface="+mj-lt"/>
              <a:buAutoNum type="arabicPeriod"/>
            </a:pPr>
            <a:r>
              <a:rPr lang="en-US" sz="4800" dirty="0"/>
              <a:t>Register data sources</a:t>
            </a:r>
          </a:p>
          <a:p>
            <a:pPr marL="742807" indent="-742807">
              <a:buFont typeface="+mj-lt"/>
              <a:buAutoNum type="arabicPeriod"/>
            </a:pPr>
            <a:r>
              <a:rPr lang="en-US" sz="4800" dirty="0"/>
              <a:t>Tag </a:t>
            </a:r>
            <a:r>
              <a:rPr lang="en-US" sz="4800"/>
              <a:t>the data</a:t>
            </a:r>
            <a:endParaRPr lang="en-US" sz="4800" dirty="0"/>
          </a:p>
          <a:p>
            <a:pPr marL="742807" indent="-742807">
              <a:buFont typeface="+mj-lt"/>
              <a:buAutoNum type="arabicPeriod"/>
            </a:pPr>
            <a:r>
              <a:rPr lang="en-US" sz="4800" dirty="0"/>
              <a:t>Document the data</a:t>
            </a:r>
          </a:p>
          <a:p>
            <a:pPr marL="742807" indent="-742807">
              <a:buFont typeface="+mj-lt"/>
              <a:buAutoNum type="arabicPeriod"/>
            </a:pPr>
            <a:r>
              <a:rPr lang="en-US" sz="4800" dirty="0"/>
              <a:t>Search and connect</a:t>
            </a:r>
          </a:p>
          <a:p>
            <a:pPr marL="742807" indent="-742807">
              <a:buFont typeface="+mj-lt"/>
              <a:buAutoNum type="arabicPeriod"/>
            </a:pPr>
            <a:endParaRPr lang="en-US" sz="4800" dirty="0"/>
          </a:p>
          <a:p>
            <a:pPr marL="742807" indent="-742807">
              <a:buFont typeface="+mj-lt"/>
              <a:buAutoNum type="arabicPeriod"/>
            </a:pPr>
            <a:endParaRPr lang="en-US" sz="4400" dirty="0">
              <a:latin typeface="+mj-lt"/>
            </a:endParaRPr>
          </a:p>
        </p:txBody>
      </p:sp>
      <p:sp>
        <p:nvSpPr>
          <p:cNvPr id="2" name="Title 1"/>
          <p:cNvSpPr>
            <a:spLocks noGrp="1"/>
          </p:cNvSpPr>
          <p:nvPr>
            <p:ph type="title"/>
          </p:nvPr>
        </p:nvSpPr>
        <p:spPr>
          <a:xfrm>
            <a:off x="0" y="-15990"/>
            <a:ext cx="12436475" cy="862151"/>
          </a:xfrm>
        </p:spPr>
        <p:txBody>
          <a:bodyPr vert="horz" wrap="square" lIns="146304" tIns="91440" rIns="146304" bIns="91440" rtlCol="0" anchor="t">
            <a:noAutofit/>
          </a:bodyPr>
          <a:lstStyle/>
          <a:p>
            <a:r>
              <a:rPr lang="en-US" dirty="0"/>
              <a:t>Azure Data Catalog</a:t>
            </a:r>
          </a:p>
        </p:txBody>
      </p:sp>
      <p:pic>
        <p:nvPicPr>
          <p:cNvPr id="5" name="Picture 4"/>
          <p:cNvPicPr>
            <a:picLocks noChangeAspect="1"/>
          </p:cNvPicPr>
          <p:nvPr/>
        </p:nvPicPr>
        <p:blipFill>
          <a:blip r:embed="rId3"/>
          <a:stretch>
            <a:fillRect/>
          </a:stretch>
        </p:blipFill>
        <p:spPr>
          <a:xfrm>
            <a:off x="10103887" y="1059208"/>
            <a:ext cx="1511998" cy="2008126"/>
          </a:xfrm>
          <a:prstGeom prst="rect">
            <a:avLst/>
          </a:prstGeom>
        </p:spPr>
      </p:pic>
    </p:spTree>
    <p:extLst>
      <p:ext uri="{BB962C8B-B14F-4D97-AF65-F5344CB8AC3E}">
        <p14:creationId xmlns:p14="http://schemas.microsoft.com/office/powerpoint/2010/main" val="36474325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Adding and searching data on the Azure Data Catalog</a:t>
            </a:r>
          </a:p>
        </p:txBody>
      </p:sp>
      <p:sp>
        <p:nvSpPr>
          <p:cNvPr id="17" name="Title 16"/>
          <p:cNvSpPr>
            <a:spLocks noGrp="1"/>
          </p:cNvSpPr>
          <p:nvPr>
            <p:ph type="title" idx="4294967295"/>
          </p:nvPr>
        </p:nvSpPr>
        <p:spPr>
          <a:xfrm>
            <a:off x="274320" y="307608"/>
            <a:ext cx="5486718" cy="917575"/>
          </a:xfrm>
        </p:spPr>
        <p:txBody>
          <a:bodyPr>
            <a:normAutofit/>
          </a:bodyPr>
          <a:lstStyle/>
          <a:p>
            <a:r>
              <a:rPr lang="en-US" dirty="0"/>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297372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11888787" cy="917575"/>
          </a:xfrm>
        </p:spPr>
        <p:txBody>
          <a:bodyPr/>
          <a:lstStyle/>
          <a:p>
            <a:r>
              <a:rPr lang="en-US" dirty="0"/>
              <a:t>Analytics Options</a:t>
            </a:r>
          </a:p>
        </p:txBody>
      </p:sp>
      <p:graphicFrame>
        <p:nvGraphicFramePr>
          <p:cNvPr id="3" name="Table 2"/>
          <p:cNvGraphicFramePr>
            <a:graphicFrameLocks noGrp="1"/>
          </p:cNvGraphicFramePr>
          <p:nvPr>
            <p:extLst/>
          </p:nvPr>
        </p:nvGraphicFramePr>
        <p:xfrm>
          <a:off x="1744925" y="818538"/>
          <a:ext cx="9068982" cy="5791197"/>
        </p:xfrm>
        <a:graphic>
          <a:graphicData uri="http://schemas.openxmlformats.org/drawingml/2006/table">
            <a:tbl>
              <a:tblPr/>
              <a:tblGrid>
                <a:gridCol w="6771035">
                  <a:extLst>
                    <a:ext uri="{9D8B030D-6E8A-4147-A177-3AD203B41FA5}">
                      <a16:colId xmlns:a16="http://schemas.microsoft.com/office/drawing/2014/main" val="3400068076"/>
                    </a:ext>
                  </a:extLst>
                </a:gridCol>
                <a:gridCol w="2297947">
                  <a:extLst>
                    <a:ext uri="{9D8B030D-6E8A-4147-A177-3AD203B41FA5}">
                      <a16:colId xmlns:a16="http://schemas.microsoft.com/office/drawing/2014/main" val="1053375319"/>
                    </a:ext>
                  </a:extLst>
                </a:gridCol>
              </a:tblGrid>
              <a:tr h="504342">
                <a:tc>
                  <a:txBody>
                    <a:bodyPr/>
                    <a:lstStyle/>
                    <a:p>
                      <a:r>
                        <a:rPr lang="en-US" sz="1800">
                          <a:solidFill>
                            <a:schemeClr val="bg2"/>
                          </a:solidFill>
                        </a:rPr>
                        <a:t>You're looking for...</a:t>
                      </a:r>
                    </a:p>
                  </a:txBody>
                  <a:tcPr marL="43551" marR="43551" marT="21776" marB="21776" anchor="ctr">
                    <a:lnL>
                      <a:noFill/>
                    </a:lnL>
                    <a:lnR>
                      <a:noFill/>
                    </a:lnR>
                    <a:lnT>
                      <a:noFill/>
                    </a:lnT>
                    <a:lnB>
                      <a:noFill/>
                    </a:lnB>
                  </a:tcPr>
                </a:tc>
                <a:tc>
                  <a:txBody>
                    <a:bodyPr/>
                    <a:lstStyle/>
                    <a:p>
                      <a:r>
                        <a:rPr lang="en-US" sz="1800" dirty="0">
                          <a:solidFill>
                            <a:schemeClr val="bg2"/>
                          </a:solidFill>
                        </a:rPr>
                        <a:t>You can use this</a:t>
                      </a:r>
                    </a:p>
                  </a:txBody>
                  <a:tcPr marL="43551" marR="43551" marT="21776" marB="21776" anchor="ctr">
                    <a:lnL>
                      <a:noFill/>
                    </a:lnL>
                    <a:lnR>
                      <a:noFill/>
                    </a:lnR>
                    <a:lnT>
                      <a:noFill/>
                    </a:lnT>
                    <a:lnB>
                      <a:noFill/>
                    </a:lnB>
                  </a:tcPr>
                </a:tc>
                <a:extLst>
                  <a:ext uri="{0D108BD9-81ED-4DB2-BD59-A6C34878D82A}">
                    <a16:rowId xmlns:a16="http://schemas.microsoft.com/office/drawing/2014/main" val="3143753309"/>
                  </a:ext>
                </a:extLst>
              </a:tr>
              <a:tr h="629013">
                <a:tc>
                  <a:txBody>
                    <a:bodyPr/>
                    <a:lstStyle/>
                    <a:p>
                      <a:pPr marL="285750" indent="-285750" algn="l" defTabSz="932742" rtl="0" eaLnBrk="1" latinLnBrk="0" hangingPunct="1">
                        <a:lnSpc>
                          <a:spcPts val="2000"/>
                        </a:lnSpc>
                        <a:spcAft>
                          <a:spcPts val="0"/>
                        </a:spcAft>
                        <a:buFont typeface="Arial" panose="020B0604020202020204" pitchFamily="34" charset="0"/>
                        <a:buChar char="•"/>
                        <a:tabLst/>
                      </a:pPr>
                      <a:r>
                        <a:rPr lang="en-US" sz="1800" kern="1200">
                          <a:solidFill>
                            <a:schemeClr val="tx1"/>
                          </a:solidFill>
                          <a:latin typeface="+mn-lt"/>
                          <a:ea typeface="+mn-ea"/>
                          <a:cs typeface="+mn-cs"/>
                        </a:rPr>
                        <a:t>A fully managed relational database that provisions quickly, scales on the fly, and includes built-in intelligence and security</a:t>
                      </a:r>
                    </a:p>
                  </a:txBody>
                  <a:tcPr>
                    <a:lnL>
                      <a:noFill/>
                    </a:lnL>
                    <a:lnR>
                      <a:noFill/>
                    </a:lnR>
                    <a:lnT>
                      <a:noFill/>
                    </a:lnT>
                    <a:lnB>
                      <a:noFill/>
                    </a:lnB>
                  </a:tcPr>
                </a:tc>
                <a:tc>
                  <a:txBody>
                    <a:bodyPr/>
                    <a:lstStyle/>
                    <a:p>
                      <a:r>
                        <a:rPr lang="en-US" sz="1600">
                          <a:hlinkClick r:id="rId3"/>
                        </a:rPr>
                        <a:t>Azure SQL Database</a:t>
                      </a:r>
                      <a:r>
                        <a:rPr lang="en-US" sz="1600"/>
                        <a:t> </a:t>
                      </a:r>
                    </a:p>
                  </a:txBody>
                  <a:tcPr>
                    <a:lnL>
                      <a:noFill/>
                    </a:lnL>
                    <a:lnR>
                      <a:noFill/>
                    </a:lnR>
                    <a:lnT>
                      <a:noFill/>
                    </a:lnT>
                    <a:lnB>
                      <a:noFill/>
                    </a:lnB>
                    <a:noFill/>
                  </a:tcPr>
                </a:tc>
                <a:extLst>
                  <a:ext uri="{0D108BD9-81ED-4DB2-BD59-A6C34878D82A}">
                    <a16:rowId xmlns:a16="http://schemas.microsoft.com/office/drawing/2014/main" val="758088985"/>
                  </a:ext>
                </a:extLst>
              </a:tr>
              <a:tr h="629013">
                <a:tc>
                  <a:txBody>
                    <a:bodyPr/>
                    <a:lstStyle/>
                    <a:p>
                      <a:pPr marL="285750" indent="-285750" algn="l" defTabSz="932742" rtl="0" eaLnBrk="1" latinLnBrk="0" hangingPunct="1">
                        <a:lnSpc>
                          <a:spcPts val="2000"/>
                        </a:lnSpc>
                        <a:spcAft>
                          <a:spcPts val="0"/>
                        </a:spcAft>
                        <a:buFont typeface="Arial" panose="020B0604020202020204" pitchFamily="34" charset="0"/>
                        <a:buChar char="•"/>
                      </a:pPr>
                      <a:r>
                        <a:rPr lang="en-US" sz="1800" kern="1200">
                          <a:solidFill>
                            <a:schemeClr val="tx1"/>
                          </a:solidFill>
                          <a:latin typeface="+mn-lt"/>
                          <a:ea typeface="+mn-ea"/>
                          <a:cs typeface="+mn-cs"/>
                        </a:rPr>
                        <a:t>A fully managed, elastic data warehouse with security at every level of scale at no extra cost</a:t>
                      </a:r>
                    </a:p>
                  </a:txBody>
                  <a:tcPr>
                    <a:lnL>
                      <a:noFill/>
                    </a:lnL>
                    <a:lnR>
                      <a:noFill/>
                    </a:lnR>
                    <a:lnT>
                      <a:noFill/>
                    </a:lnT>
                    <a:lnB>
                      <a:noFill/>
                    </a:lnB>
                  </a:tcPr>
                </a:tc>
                <a:tc>
                  <a:txBody>
                    <a:bodyPr/>
                    <a:lstStyle/>
                    <a:p>
                      <a:r>
                        <a:rPr lang="en-US" sz="1600">
                          <a:hlinkClick r:id="rId4"/>
                        </a:rPr>
                        <a:t>Azure SQL Data Warehouse</a:t>
                      </a:r>
                      <a:endParaRPr lang="en-US" sz="1600"/>
                    </a:p>
                  </a:txBody>
                  <a:tcPr>
                    <a:lnL>
                      <a:noFill/>
                    </a:lnL>
                    <a:lnR>
                      <a:noFill/>
                    </a:lnR>
                    <a:lnT>
                      <a:noFill/>
                    </a:lnT>
                    <a:lnB>
                      <a:noFill/>
                    </a:lnB>
                    <a:noFill/>
                  </a:tcPr>
                </a:tc>
                <a:extLst>
                  <a:ext uri="{0D108BD9-81ED-4DB2-BD59-A6C34878D82A}">
                    <a16:rowId xmlns:a16="http://schemas.microsoft.com/office/drawing/2014/main" val="1717185735"/>
                  </a:ext>
                </a:extLst>
              </a:tr>
              <a:tr h="578762">
                <a:tc>
                  <a:txBody>
                    <a:bodyPr/>
                    <a:lstStyle/>
                    <a:p>
                      <a:pPr marL="285750" indent="-228600">
                        <a:lnSpc>
                          <a:spcPts val="2000"/>
                        </a:lnSpc>
                        <a:spcAft>
                          <a:spcPts val="0"/>
                        </a:spcAft>
                        <a:buFont typeface="Arial" panose="020B0604020202020204" pitchFamily="34" charset="0"/>
                        <a:buChar char="•"/>
                      </a:pPr>
                      <a:r>
                        <a:rPr lang="en-US" sz="1800"/>
                        <a:t>A fully managed cloud Hadoop and Spark service backed by 99.9% SLA for your enterprise</a:t>
                      </a:r>
                    </a:p>
                  </a:txBody>
                  <a:tcPr marL="43551" marR="43551" marT="21776" marB="21776">
                    <a:lnL>
                      <a:noFill/>
                    </a:lnL>
                    <a:lnR>
                      <a:noFill/>
                    </a:lnR>
                    <a:lnT>
                      <a:noFill/>
                    </a:lnT>
                    <a:lnB>
                      <a:noFill/>
                    </a:lnB>
                  </a:tcPr>
                </a:tc>
                <a:tc>
                  <a:txBody>
                    <a:bodyPr/>
                    <a:lstStyle/>
                    <a:p>
                      <a:r>
                        <a:rPr lang="en-US" sz="1600">
                          <a:solidFill>
                            <a:schemeClr val="tx2"/>
                          </a:solidFill>
                          <a:hlinkClick r:id="rId5"/>
                        </a:rPr>
                        <a:t>HDInsight</a:t>
                      </a:r>
                      <a:r>
                        <a:rPr lang="en-US" sz="1600">
                          <a:solidFill>
                            <a:schemeClr val="tx2"/>
                          </a:solidFill>
                        </a:rPr>
                        <a:t> </a:t>
                      </a:r>
                    </a:p>
                  </a:txBody>
                  <a:tcPr marL="43551" marR="43551" marT="21776" marB="21776">
                    <a:lnL>
                      <a:noFill/>
                    </a:lnL>
                    <a:lnR>
                      <a:noFill/>
                    </a:lnR>
                    <a:lnT>
                      <a:noFill/>
                    </a:lnT>
                    <a:lnB>
                      <a:noFill/>
                    </a:lnB>
                    <a:noFill/>
                  </a:tcPr>
                </a:tc>
                <a:extLst>
                  <a:ext uri="{0D108BD9-81ED-4DB2-BD59-A6C34878D82A}">
                    <a16:rowId xmlns:a16="http://schemas.microsoft.com/office/drawing/2014/main" val="4218416796"/>
                  </a:ext>
                </a:extLst>
              </a:tr>
              <a:tr h="578762">
                <a:tc>
                  <a:txBody>
                    <a:bodyPr/>
                    <a:lstStyle/>
                    <a:p>
                      <a:pPr marL="285750" indent="-228600">
                        <a:lnSpc>
                          <a:spcPts val="2000"/>
                        </a:lnSpc>
                        <a:spcAft>
                          <a:spcPts val="0"/>
                        </a:spcAft>
                        <a:buFont typeface="Arial" panose="020B0604020202020204" pitchFamily="34" charset="0"/>
                        <a:buChar char="•"/>
                      </a:pPr>
                      <a:r>
                        <a:rPr lang="en-US" sz="1800"/>
                        <a:t>A fully managed cloud service to easily build, deploy, and share predictive analytics solutions</a:t>
                      </a:r>
                    </a:p>
                  </a:txBody>
                  <a:tcPr marL="43551" marR="43551" marT="21776" marB="21776">
                    <a:lnL>
                      <a:noFill/>
                    </a:lnL>
                    <a:lnR>
                      <a:noFill/>
                    </a:lnR>
                    <a:lnT>
                      <a:noFill/>
                    </a:lnT>
                    <a:lnB>
                      <a:noFill/>
                    </a:lnB>
                  </a:tcPr>
                </a:tc>
                <a:tc>
                  <a:txBody>
                    <a:bodyPr/>
                    <a:lstStyle/>
                    <a:p>
                      <a:r>
                        <a:rPr lang="en-US" sz="1600">
                          <a:solidFill>
                            <a:schemeClr val="tx2"/>
                          </a:solidFill>
                          <a:hlinkClick r:id="rId6"/>
                        </a:rPr>
                        <a:t>Machine Learning</a:t>
                      </a:r>
                      <a:r>
                        <a:rPr lang="en-US" sz="1600">
                          <a:solidFill>
                            <a:schemeClr val="tx2"/>
                          </a:solidFill>
                        </a:rPr>
                        <a:t> </a:t>
                      </a:r>
                    </a:p>
                  </a:txBody>
                  <a:tcPr marL="43551" marR="43551" marT="21776" marB="21776">
                    <a:lnL>
                      <a:noFill/>
                    </a:lnL>
                    <a:lnR>
                      <a:noFill/>
                    </a:lnR>
                    <a:lnT>
                      <a:noFill/>
                    </a:lnT>
                    <a:lnB>
                      <a:noFill/>
                    </a:lnB>
                    <a:noFill/>
                  </a:tcPr>
                </a:tc>
                <a:extLst>
                  <a:ext uri="{0D108BD9-81ED-4DB2-BD59-A6C34878D82A}">
                    <a16:rowId xmlns:a16="http://schemas.microsoft.com/office/drawing/2014/main" val="2537819014"/>
                  </a:ext>
                </a:extLst>
              </a:tr>
              <a:tr h="578762">
                <a:tc>
                  <a:txBody>
                    <a:bodyPr/>
                    <a:lstStyle/>
                    <a:p>
                      <a:pPr marL="285750" indent="-228600">
                        <a:lnSpc>
                          <a:spcPts val="2000"/>
                        </a:lnSpc>
                        <a:spcAft>
                          <a:spcPts val="0"/>
                        </a:spcAft>
                        <a:buFont typeface="Arial" panose="020B0604020202020204" pitchFamily="34" charset="0"/>
                        <a:buChar char="•"/>
                      </a:pPr>
                      <a:r>
                        <a:rPr lang="en-US" sz="1800"/>
                        <a:t>An on-demand, real-time stream processing service with enterprise-grade security, auditing, and support</a:t>
                      </a:r>
                    </a:p>
                  </a:txBody>
                  <a:tcPr marL="43551" marR="43551" marT="21776" marB="21776">
                    <a:lnL>
                      <a:noFill/>
                    </a:lnL>
                    <a:lnR>
                      <a:noFill/>
                    </a:lnR>
                    <a:lnT>
                      <a:noFill/>
                    </a:lnT>
                    <a:lnB>
                      <a:noFill/>
                    </a:lnB>
                  </a:tcPr>
                </a:tc>
                <a:tc>
                  <a:txBody>
                    <a:bodyPr/>
                    <a:lstStyle/>
                    <a:p>
                      <a:r>
                        <a:rPr lang="en-US" sz="1600">
                          <a:solidFill>
                            <a:schemeClr val="tx2"/>
                          </a:solidFill>
                          <a:hlinkClick r:id="rId7"/>
                        </a:rPr>
                        <a:t>Stream Analytics</a:t>
                      </a:r>
                      <a:r>
                        <a:rPr lang="en-US" sz="1600">
                          <a:solidFill>
                            <a:schemeClr val="tx2"/>
                          </a:solidFill>
                        </a:rPr>
                        <a:t> </a:t>
                      </a:r>
                    </a:p>
                  </a:txBody>
                  <a:tcPr marL="43551" marR="43551" marT="21776" marB="21776">
                    <a:lnL>
                      <a:noFill/>
                    </a:lnL>
                    <a:lnR>
                      <a:noFill/>
                    </a:lnR>
                    <a:lnT>
                      <a:noFill/>
                    </a:lnT>
                    <a:lnB>
                      <a:noFill/>
                    </a:lnB>
                    <a:noFill/>
                  </a:tcPr>
                </a:tc>
                <a:extLst>
                  <a:ext uri="{0D108BD9-81ED-4DB2-BD59-A6C34878D82A}">
                    <a16:rowId xmlns:a16="http://schemas.microsoft.com/office/drawing/2014/main" val="1392740090"/>
                  </a:ext>
                </a:extLst>
              </a:tr>
              <a:tr h="556257">
                <a:tc>
                  <a:txBody>
                    <a:bodyPr/>
                    <a:lstStyle/>
                    <a:p>
                      <a:pPr marL="285750" indent="-228600">
                        <a:lnSpc>
                          <a:spcPts val="2000"/>
                        </a:lnSpc>
                        <a:spcAft>
                          <a:spcPts val="0"/>
                        </a:spcAft>
                        <a:buFont typeface="Arial" panose="020B0604020202020204" pitchFamily="34" charset="0"/>
                        <a:buChar char="•"/>
                      </a:pPr>
                      <a:r>
                        <a:rPr lang="en-US" sz="1800"/>
                        <a:t>A no-limits data lake built to support massively parallel analytics</a:t>
                      </a:r>
                    </a:p>
                  </a:txBody>
                  <a:tcPr marL="43551" marR="43551" marT="21776" marB="21776">
                    <a:lnL>
                      <a:noFill/>
                    </a:lnL>
                    <a:lnR>
                      <a:noFill/>
                    </a:lnR>
                    <a:lnT>
                      <a:noFill/>
                    </a:lnT>
                    <a:lnB>
                      <a:noFill/>
                    </a:lnB>
                  </a:tcPr>
                </a:tc>
                <a:tc>
                  <a:txBody>
                    <a:bodyPr/>
                    <a:lstStyle/>
                    <a:p>
                      <a:r>
                        <a:rPr lang="en-US" sz="1600">
                          <a:solidFill>
                            <a:schemeClr val="tx2"/>
                          </a:solidFill>
                          <a:hlinkClick r:id="rId8"/>
                        </a:rPr>
                        <a:t>Data Lake Store</a:t>
                      </a:r>
                      <a:r>
                        <a:rPr lang="en-US" sz="1600">
                          <a:solidFill>
                            <a:schemeClr val="tx2"/>
                          </a:solidFill>
                        </a:rPr>
                        <a:t> </a:t>
                      </a:r>
                    </a:p>
                  </a:txBody>
                  <a:tcPr marL="43551" marR="43551" marT="21776" marB="21776">
                    <a:lnL>
                      <a:noFill/>
                    </a:lnL>
                    <a:lnR>
                      <a:noFill/>
                    </a:lnR>
                    <a:lnT>
                      <a:noFill/>
                    </a:lnT>
                    <a:lnB>
                      <a:noFill/>
                    </a:lnB>
                    <a:noFill/>
                  </a:tcPr>
                </a:tc>
                <a:extLst>
                  <a:ext uri="{0D108BD9-81ED-4DB2-BD59-A6C34878D82A}">
                    <a16:rowId xmlns:a16="http://schemas.microsoft.com/office/drawing/2014/main" val="2759794598"/>
                  </a:ext>
                </a:extLst>
              </a:tr>
              <a:tr h="578762">
                <a:tc>
                  <a:txBody>
                    <a:bodyPr/>
                    <a:lstStyle/>
                    <a:p>
                      <a:pPr marL="285750" indent="-228600">
                        <a:lnSpc>
                          <a:spcPts val="2000"/>
                        </a:lnSpc>
                        <a:spcAft>
                          <a:spcPts val="0"/>
                        </a:spcAft>
                        <a:buFont typeface="Arial" panose="020B0604020202020204" pitchFamily="34" charset="0"/>
                        <a:buChar char="•"/>
                      </a:pPr>
                      <a:r>
                        <a:rPr lang="en-US" sz="1800"/>
                        <a:t>A fully managed on-demand pay-per-job analytics service with enterprise-grade security, auditing, and support</a:t>
                      </a:r>
                    </a:p>
                  </a:txBody>
                  <a:tcPr marL="43551" marR="43551" marT="21776" marB="21776">
                    <a:lnL>
                      <a:noFill/>
                    </a:lnL>
                    <a:lnR>
                      <a:noFill/>
                    </a:lnR>
                    <a:lnT>
                      <a:noFill/>
                    </a:lnT>
                    <a:lnB>
                      <a:noFill/>
                    </a:lnB>
                  </a:tcPr>
                </a:tc>
                <a:tc>
                  <a:txBody>
                    <a:bodyPr/>
                    <a:lstStyle/>
                    <a:p>
                      <a:r>
                        <a:rPr lang="en-US" sz="1600">
                          <a:solidFill>
                            <a:schemeClr val="tx2"/>
                          </a:solidFill>
                          <a:hlinkClick r:id="rId9"/>
                        </a:rPr>
                        <a:t>Data Lake Analytics</a:t>
                      </a:r>
                      <a:r>
                        <a:rPr lang="en-US" sz="1600">
                          <a:solidFill>
                            <a:schemeClr val="tx2"/>
                          </a:solidFill>
                        </a:rPr>
                        <a:t> </a:t>
                      </a:r>
                    </a:p>
                  </a:txBody>
                  <a:tcPr marL="43551" marR="43551" marT="21776" marB="21776">
                    <a:lnL>
                      <a:noFill/>
                    </a:lnL>
                    <a:lnR>
                      <a:noFill/>
                    </a:lnR>
                    <a:lnT>
                      <a:noFill/>
                    </a:lnT>
                    <a:lnB>
                      <a:noFill/>
                    </a:lnB>
                    <a:noFill/>
                  </a:tcPr>
                </a:tc>
                <a:extLst>
                  <a:ext uri="{0D108BD9-81ED-4DB2-BD59-A6C34878D82A}">
                    <a16:rowId xmlns:a16="http://schemas.microsoft.com/office/drawing/2014/main" val="2786429361"/>
                  </a:ext>
                </a:extLst>
              </a:tr>
              <a:tr h="578762">
                <a:tc>
                  <a:txBody>
                    <a:bodyPr/>
                    <a:lstStyle/>
                    <a:p>
                      <a:pPr marL="285750" indent="-228600">
                        <a:lnSpc>
                          <a:spcPts val="2000"/>
                        </a:lnSpc>
                        <a:spcAft>
                          <a:spcPts val="0"/>
                        </a:spcAft>
                        <a:buFont typeface="Arial" panose="020B0604020202020204" pitchFamily="34" charset="0"/>
                        <a:buChar char="•"/>
                      </a:pPr>
                      <a:r>
                        <a:rPr lang="en-US" sz="1800"/>
                        <a:t>An enterprise-wide metadata catalog that makes data asset discovery simple</a:t>
                      </a:r>
                    </a:p>
                  </a:txBody>
                  <a:tcPr marL="43551" marR="43551" marT="21776" marB="21776">
                    <a:lnL>
                      <a:noFill/>
                    </a:lnL>
                    <a:lnR>
                      <a:noFill/>
                    </a:lnR>
                    <a:lnT>
                      <a:noFill/>
                    </a:lnT>
                    <a:lnB>
                      <a:noFill/>
                    </a:lnB>
                  </a:tcPr>
                </a:tc>
                <a:tc>
                  <a:txBody>
                    <a:bodyPr/>
                    <a:lstStyle/>
                    <a:p>
                      <a:r>
                        <a:rPr lang="en-US" sz="1600">
                          <a:solidFill>
                            <a:schemeClr val="tx2"/>
                          </a:solidFill>
                          <a:hlinkClick r:id="rId10"/>
                        </a:rPr>
                        <a:t>Data Catalog</a:t>
                      </a:r>
                      <a:r>
                        <a:rPr lang="en-US" sz="1600">
                          <a:solidFill>
                            <a:schemeClr val="tx2"/>
                          </a:solidFill>
                        </a:rPr>
                        <a:t> </a:t>
                      </a:r>
                    </a:p>
                  </a:txBody>
                  <a:tcPr marL="43551" marR="43551" marT="21776" marB="21776">
                    <a:lnL>
                      <a:noFill/>
                    </a:lnL>
                    <a:lnR>
                      <a:noFill/>
                    </a:lnR>
                    <a:lnT>
                      <a:noFill/>
                    </a:lnT>
                    <a:lnB>
                      <a:noFill/>
                    </a:lnB>
                    <a:noFill/>
                  </a:tcPr>
                </a:tc>
                <a:extLst>
                  <a:ext uri="{0D108BD9-81ED-4DB2-BD59-A6C34878D82A}">
                    <a16:rowId xmlns:a16="http://schemas.microsoft.com/office/drawing/2014/main" val="674662325"/>
                  </a:ext>
                </a:extLst>
              </a:tr>
              <a:tr h="578762">
                <a:tc>
                  <a:txBody>
                    <a:bodyPr/>
                    <a:lstStyle/>
                    <a:p>
                      <a:pPr marL="285750" indent="-228600">
                        <a:lnSpc>
                          <a:spcPts val="2000"/>
                        </a:lnSpc>
                        <a:spcAft>
                          <a:spcPts val="0"/>
                        </a:spcAft>
                        <a:buFont typeface="Arial" panose="020B0604020202020204" pitchFamily="34" charset="0"/>
                        <a:buChar char="•"/>
                      </a:pPr>
                      <a:r>
                        <a:rPr lang="en-US" sz="1800"/>
                        <a:t>A data integration service to orchestrate and automate data movement and transformation</a:t>
                      </a:r>
                    </a:p>
                  </a:txBody>
                  <a:tcPr marL="43551" marR="43551" marT="21776" marB="21776">
                    <a:lnL>
                      <a:noFill/>
                    </a:lnL>
                    <a:lnR>
                      <a:noFill/>
                    </a:lnR>
                    <a:lnT>
                      <a:noFill/>
                    </a:lnT>
                    <a:lnB>
                      <a:noFill/>
                    </a:lnB>
                  </a:tcPr>
                </a:tc>
                <a:tc>
                  <a:txBody>
                    <a:bodyPr/>
                    <a:lstStyle/>
                    <a:p>
                      <a:r>
                        <a:rPr lang="en-US" sz="1600" dirty="0">
                          <a:solidFill>
                            <a:schemeClr val="tx2"/>
                          </a:solidFill>
                          <a:hlinkClick r:id="rId11"/>
                        </a:rPr>
                        <a:t>Data Factory</a:t>
                      </a:r>
                      <a:r>
                        <a:rPr lang="en-US" sz="1600" dirty="0">
                          <a:solidFill>
                            <a:schemeClr val="tx2"/>
                          </a:solidFill>
                        </a:rPr>
                        <a:t> </a:t>
                      </a:r>
                    </a:p>
                  </a:txBody>
                  <a:tcPr marL="43551" marR="43551" marT="21776" marB="21776">
                    <a:lnL>
                      <a:noFill/>
                    </a:lnL>
                    <a:lnR>
                      <a:noFill/>
                    </a:lnR>
                    <a:lnT>
                      <a:noFill/>
                    </a:lnT>
                    <a:lnB>
                      <a:noFill/>
                    </a:lnB>
                    <a:noFill/>
                  </a:tcPr>
                </a:tc>
                <a:extLst>
                  <a:ext uri="{0D108BD9-81ED-4DB2-BD59-A6C34878D82A}">
                    <a16:rowId xmlns:a16="http://schemas.microsoft.com/office/drawing/2014/main" val="2371708466"/>
                  </a:ext>
                </a:extLst>
              </a:tr>
            </a:tbl>
          </a:graphicData>
        </a:graphic>
      </p:graphicFrame>
      <p:sp>
        <p:nvSpPr>
          <p:cNvPr id="4" name="Rectangle 1"/>
          <p:cNvSpPr>
            <a:spLocks noChangeArrowheads="1"/>
          </p:cNvSpPr>
          <p:nvPr/>
        </p:nvSpPr>
        <p:spPr bwMode="auto">
          <a:xfrm>
            <a:off x="817563" y="1027113"/>
            <a:ext cx="3856037" cy="0"/>
          </a:xfrm>
          <a:prstGeom prst="rect">
            <a:avLst/>
          </a:prstGeom>
          <a:solidFill>
            <a:srgbClr val="30303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414207" tIns="0" rIns="249159" bIns="0" numCol="1" anchor="ctr" anchorCtr="0" compatLnSpc="1">
            <a:prstTxWarp prst="textNoShape">
              <a:avLst/>
            </a:prstTxWarp>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Tree>
    <p:extLst>
      <p:ext uri="{BB962C8B-B14F-4D97-AF65-F5344CB8AC3E}">
        <p14:creationId xmlns:p14="http://schemas.microsoft.com/office/powerpoint/2010/main" val="57100153"/>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555247025"/>
      </p:ext>
    </p:extLst>
  </p:cSld>
  <p:clrMapOvr>
    <a:masterClrMapping/>
  </p:clrMapOvr>
  <p:transition spd="slow">
    <p:wip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p:cNvSpPr txBox="1">
            <a:spLocks/>
          </p:cNvSpPr>
          <p:nvPr/>
        </p:nvSpPr>
        <p:spPr>
          <a:xfrm>
            <a:off x="138704" y="1671624"/>
            <a:ext cx="7514284" cy="3395801"/>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marR="0" lvl="0" indent="-514350" algn="l" defTabSz="932742" rtl="0" eaLnBrk="1" fontAlgn="auto" latinLnBrk="0" hangingPunct="1">
              <a:lnSpc>
                <a:spcPct val="100000"/>
              </a:lnSpc>
              <a:spcBef>
                <a:spcPts val="1000"/>
              </a:spcBef>
              <a:spcAft>
                <a:spcPts val="0"/>
              </a:spcAft>
              <a:buClrTx/>
              <a:buSzPct val="90000"/>
              <a:buFont typeface="Arial" pitchFamily="34" charset="0"/>
              <a:buAutoNum type="arabicPeriod"/>
              <a:tabLst/>
              <a:defRPr/>
            </a:pPr>
            <a:r>
              <a:rPr lang="en-US" sz="3200" dirty="0">
                <a:solidFill>
                  <a:srgbClr val="00B050"/>
                </a:solidFill>
                <a:latin typeface="Segoe UI Light"/>
              </a:rPr>
              <a:t>Determine questions from Business Requirements</a:t>
            </a:r>
            <a:endParaRPr kumimoji="0" lang="en-US" sz="3200" b="0" i="0" u="none" strike="noStrike" kern="1200" cap="none" spc="0" normalizeH="0" baseline="0" noProof="0" dirty="0">
              <a:ln>
                <a:noFill/>
              </a:ln>
              <a:solidFill>
                <a:srgbClr val="00B050"/>
              </a:solidFill>
              <a:effectLst/>
              <a:uLnTx/>
              <a:uFillTx/>
              <a:latin typeface="Segoe UI Light"/>
              <a:ea typeface="+mn-ea"/>
              <a:cs typeface="+mn-cs"/>
            </a:endParaRPr>
          </a:p>
          <a:p>
            <a:pPr marL="514350" marR="0" lvl="0" indent="-514350" algn="l" defTabSz="932742" rtl="0" eaLnBrk="1" fontAlgn="auto" latinLnBrk="0" hangingPunct="1">
              <a:lnSpc>
                <a:spcPct val="100000"/>
              </a:lnSpc>
              <a:spcBef>
                <a:spcPts val="1000"/>
              </a:spcBef>
              <a:spcAft>
                <a:spcPts val="0"/>
              </a:spcAft>
              <a:buClrTx/>
              <a:buSzPct val="90000"/>
              <a:buFont typeface="Arial" pitchFamily="34" charset="0"/>
              <a:buAutoNum type="arabicPeriod"/>
              <a:tabLst/>
              <a:defRPr/>
            </a:pPr>
            <a:r>
              <a:rPr lang="en-US" sz="3200" dirty="0">
                <a:solidFill>
                  <a:srgbClr val="00B050"/>
                </a:solidFill>
                <a:latin typeface="Segoe UI Light"/>
              </a:rPr>
              <a:t>Locate and document data sources for Advanced Analytics</a:t>
            </a:r>
          </a:p>
          <a:p>
            <a:pPr marL="514350" marR="0" lvl="0" indent="-514350" algn="l" defTabSz="932742" rtl="0" eaLnBrk="1" fontAlgn="auto" latinLnBrk="0" hangingPunct="1">
              <a:lnSpc>
                <a:spcPct val="100000"/>
              </a:lnSpc>
              <a:spcBef>
                <a:spcPts val="1000"/>
              </a:spcBef>
              <a:spcAft>
                <a:spcPts val="0"/>
              </a:spcAft>
              <a:buClrTx/>
              <a:buSzPct val="90000"/>
              <a:buFont typeface="Arial" pitchFamily="34" charset="0"/>
              <a:buAutoNum type="arabicPeriod"/>
              <a:tabLst/>
              <a:defRPr/>
            </a:pPr>
            <a:r>
              <a:rPr lang="en-US" sz="3200" dirty="0">
                <a:solidFill>
                  <a:srgbClr val="00B050"/>
                </a:solidFill>
                <a:latin typeface="Segoe UI Light"/>
              </a:rPr>
              <a:t>Use patterns to create Solution Frameworks</a:t>
            </a:r>
            <a:endParaRPr kumimoji="0" lang="en-US" sz="3200" b="0" i="0" u="none" strike="noStrike" kern="1200" cap="none" spc="0" normalizeH="0" baseline="0" noProof="0" dirty="0">
              <a:ln>
                <a:noFill/>
              </a:ln>
              <a:solidFill>
                <a:srgbClr val="00B050"/>
              </a:solidFill>
              <a:effectLst/>
              <a:uLnTx/>
              <a:uFillTx/>
              <a:latin typeface="Segoe UI Light"/>
              <a:ea typeface="+mn-ea"/>
              <a:cs typeface="+mn-cs"/>
            </a:endParaRPr>
          </a:p>
        </p:txBody>
      </p:sp>
      <p:sp>
        <p:nvSpPr>
          <p:cNvPr id="7" name="Title 1"/>
          <p:cNvSpPr txBox="1">
            <a:spLocks/>
          </p:cNvSpPr>
          <p:nvPr/>
        </p:nvSpPr>
        <p:spPr>
          <a:xfrm>
            <a:off x="-1" y="0"/>
            <a:ext cx="12436475" cy="873457"/>
          </a:xfrm>
          <a:prstGeom prst="rect">
            <a:avLst/>
          </a:prstGeom>
        </p:spPr>
        <p:txBody>
          <a:bodyPr vert="horz" wrap="square" lIns="146304" tIns="91440" rIns="146304" bIns="91440" rtlCol="0" anchor="t">
            <a:noAutofit/>
          </a:bodyPr>
          <a:lstStyle>
            <a:lvl1pPr>
              <a:lnSpc>
                <a:spcPct val="90000"/>
              </a:lnSpc>
              <a:spcBef>
                <a:spcPct val="0"/>
              </a:spcBef>
              <a:buNone/>
              <a:defRPr lang="en-US" sz="4800" b="0" cap="none" spc="-102" baseline="0" dirty="0" smtClean="0">
                <a:ln w="3175">
                  <a:noFill/>
                </a:ln>
                <a:effectLst/>
                <a:latin typeface="+mj-lt"/>
                <a:cs typeface="Segoe UI" pitchFamily="34" charset="0"/>
              </a:defRPr>
            </a:lvl1pPr>
          </a:lstStyle>
          <a:p>
            <a:pPr marL="0" marR="0" lvl="0" indent="0" defTabSz="914400" eaLnBrk="1" fontAlgn="auto" latinLnBrk="0" hangingPunct="1">
              <a:lnSpc>
                <a:spcPct val="90000"/>
              </a:lnSpc>
              <a:spcBef>
                <a:spcPct val="0"/>
              </a:spcBef>
              <a:spcAft>
                <a:spcPts val="0"/>
              </a:spcAft>
              <a:buClrTx/>
              <a:buSzTx/>
              <a:buFontTx/>
              <a:buNone/>
              <a:tabLst/>
              <a:defRPr/>
            </a:pPr>
            <a:r>
              <a:rPr kumimoji="0" lang="en-US" sz="4800" b="0" i="0" u="none" strike="noStrike" kern="0" cap="none" spc="-102" normalizeH="0" baseline="0" noProof="0" dirty="0">
                <a:ln w="3175">
                  <a:noFill/>
                </a:ln>
                <a:solidFill>
                  <a:sysClr val="windowText" lastClr="000000"/>
                </a:solidFill>
                <a:effectLst/>
                <a:uLnTx/>
                <a:uFillTx/>
                <a:latin typeface="+mj-lt"/>
                <a:cs typeface="Segoe UI" pitchFamily="34" charset="0"/>
              </a:rPr>
              <a:t>Learning Objectives</a:t>
            </a: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7866743" y="-1"/>
            <a:ext cx="4569732" cy="6994525"/>
          </a:xfrm>
          <a:prstGeom prst="rect">
            <a:avLst/>
          </a:prstGeom>
        </p:spPr>
      </p:pic>
    </p:spTree>
    <p:extLst>
      <p:ext uri="{BB962C8B-B14F-4D97-AF65-F5344CB8AC3E}">
        <p14:creationId xmlns:p14="http://schemas.microsoft.com/office/powerpoint/2010/main" val="134648930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
            <a:ext cx="12436475" cy="791568"/>
          </a:xfrm>
        </p:spPr>
        <p:txBody>
          <a:bodyPr vert="horz" wrap="square" lIns="146304" tIns="91440" rIns="146304" bIns="91440" rtlCol="0" anchor="t">
            <a:noAutofit/>
          </a:bodyPr>
          <a:lstStyle/>
          <a:p>
            <a:pPr defTabSz="932742"/>
            <a:r>
              <a:rPr lang="en-US" sz="4800" spc="-102" dirty="0">
                <a:ln w="3175">
                  <a:noFill/>
                </a:ln>
                <a:gradFill>
                  <a:gsLst>
                    <a:gs pos="1250">
                      <a:schemeClr val="tx1"/>
                    </a:gs>
                    <a:gs pos="100000">
                      <a:schemeClr val="tx1"/>
                    </a:gs>
                  </a:gsLst>
                  <a:lin ang="5400000" scaled="0"/>
                </a:gradFill>
                <a:latin typeface="+mj-lt"/>
                <a:ea typeface="+mn-ea"/>
              </a:rPr>
              <a:t>The Data Science Process and Platform</a:t>
            </a:r>
          </a:p>
        </p:txBody>
      </p:sp>
      <p:pic>
        <p:nvPicPr>
          <p:cNvPr id="5" name="Picture 4"/>
          <p:cNvPicPr>
            <a:picLocks noChangeAspect="1"/>
          </p:cNvPicPr>
          <p:nvPr/>
        </p:nvPicPr>
        <p:blipFill>
          <a:blip r:embed="rId3"/>
          <a:stretch>
            <a:fillRect/>
          </a:stretch>
        </p:blipFill>
        <p:spPr>
          <a:xfrm>
            <a:off x="2665503" y="2115427"/>
            <a:ext cx="7354808" cy="2902911"/>
          </a:xfrm>
          <a:prstGeom prst="rect">
            <a:avLst/>
          </a:prstGeom>
        </p:spPr>
      </p:pic>
    </p:spTree>
    <p:extLst>
      <p:ext uri="{BB962C8B-B14F-4D97-AF65-F5344CB8AC3E}">
        <p14:creationId xmlns:p14="http://schemas.microsoft.com/office/powerpoint/2010/main" val="22414556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01600"/>
            <a:ext cx="3533775" cy="2068513"/>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latin typeface="+mj-lt"/>
              </a:rPr>
              <a:t>The Team Data Science </a:t>
            </a:r>
            <a:r>
              <a:rPr lang="en-US" sz="4399" dirty="0">
                <a:solidFill>
                  <a:srgbClr val="00B050"/>
                </a:solidFill>
                <a:latin typeface="+mj-lt"/>
              </a:rPr>
              <a:t>Process</a:t>
            </a:r>
            <a:r>
              <a:rPr lang="en-US" sz="4399" dirty="0">
                <a:solidFill>
                  <a:schemeClr val="tx1">
                    <a:lumMod val="75000"/>
                  </a:schemeClr>
                </a:solidFill>
                <a:latin typeface="+mj-lt"/>
              </a:rPr>
              <a:t> </a:t>
            </a:r>
          </a:p>
        </p:txBody>
      </p:sp>
      <p:graphicFrame>
        <p:nvGraphicFramePr>
          <p:cNvPr id="3" name="Diagram 2"/>
          <p:cNvGraphicFramePr/>
          <p:nvPr>
            <p:extLst>
              <p:ext uri="{D42A27DB-BD31-4B8C-83A1-F6EECF244321}">
                <p14:modId xmlns:p14="http://schemas.microsoft.com/office/powerpoint/2010/main" val="288991974"/>
              </p:ext>
            </p:extLst>
          </p:nvPr>
        </p:nvGraphicFramePr>
        <p:xfrm>
          <a:off x="4255702" y="101600"/>
          <a:ext cx="8029573" cy="665674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947893833"/>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30163"/>
            <a:ext cx="4289425" cy="2511425"/>
          </a:xfrm>
        </p:spPr>
        <p:txBody>
          <a:bodyPr vert="horz" wrap="square" lIns="146283" tIns="91428" rIns="146283" bIns="91428" numCol="1" rtlCol="0" anchor="t" anchorCtr="0" compatLnSpc="1">
            <a:prstTxWarp prst="textNoShape">
              <a:avLst/>
            </a:prstTxWarp>
            <a:noAutofit/>
          </a:bodyPr>
          <a:lstStyle/>
          <a:p>
            <a:r>
              <a:rPr lang="en-US" sz="4399" dirty="0">
                <a:solidFill>
                  <a:schemeClr val="tx1">
                    <a:lumMod val="75000"/>
                  </a:schemeClr>
                </a:solidFill>
              </a:rPr>
              <a:t>The Azure</a:t>
            </a:r>
            <a:br>
              <a:rPr lang="en-US" sz="4399" dirty="0">
                <a:solidFill>
                  <a:schemeClr val="tx1">
                    <a:lumMod val="75000"/>
                  </a:schemeClr>
                </a:solidFill>
              </a:rPr>
            </a:br>
            <a:r>
              <a:rPr lang="en-US" sz="4399" dirty="0">
                <a:solidFill>
                  <a:srgbClr val="00B050"/>
                </a:solidFill>
              </a:rPr>
              <a:t>Platform </a:t>
            </a:r>
            <a:r>
              <a:rPr lang="en-US" sz="4399" dirty="0">
                <a:solidFill>
                  <a:schemeClr val="tx1">
                    <a:lumMod val="50000"/>
                  </a:schemeClr>
                </a:solidFill>
              </a:rPr>
              <a:t>for Analytics and AI</a:t>
            </a:r>
            <a:endParaRPr lang="en-US" sz="4399" dirty="0">
              <a:solidFill>
                <a:srgbClr val="00B050"/>
              </a:solidFill>
            </a:endParaRPr>
          </a:p>
        </p:txBody>
      </p:sp>
      <p:graphicFrame>
        <p:nvGraphicFramePr>
          <p:cNvPr id="3" name="Diagram 2"/>
          <p:cNvGraphicFramePr/>
          <p:nvPr>
            <p:extLst>
              <p:ext uri="{D42A27DB-BD31-4B8C-83A1-F6EECF244321}">
                <p14:modId xmlns:p14="http://schemas.microsoft.com/office/powerpoint/2010/main" val="3996220787"/>
              </p:ext>
            </p:extLst>
          </p:nvPr>
        </p:nvGraphicFramePr>
        <p:xfrm>
          <a:off x="3835023" y="112051"/>
          <a:ext cx="8420668" cy="67118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655917968"/>
      </p:ext>
    </p:extLst>
  </p:cSld>
  <p:clrMapOvr>
    <a:masterClrMapping/>
  </p:clrMapOvr>
  <p:transition spd="slow">
    <p:wip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1" y="0"/>
            <a:ext cx="12436475" cy="846161"/>
          </a:xfrm>
        </p:spPr>
        <p:txBody>
          <a:bodyPr/>
          <a:lstStyle/>
          <a:p>
            <a:r>
              <a:rPr lang="en-US" dirty="0"/>
              <a:t>Defining your Objectives</a:t>
            </a:r>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rgbClr val="505050">
                  <a:tint val="75000"/>
                </a:srgbClr>
              </a:solidFill>
              <a:effectLst/>
              <a:uLnTx/>
              <a:uFillTx/>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241931977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BEBA8EAE-BF5A-486C-A8C5-ECC9F3942E4B}">
                <a14:imgProps xmlns:a14="http://schemas.microsoft.com/office/drawing/2010/main">
                  <a14:imgLayer r:embed="rId4">
                    <a14:imgEffect>
                      <a14:brightnessContrast bright="26000" contrast="-56000"/>
                    </a14:imgEffect>
                  </a14:imgLayer>
                </a14:imgProps>
              </a:ext>
            </a:extLst>
          </a:blip>
          <a:stretch>
            <a:fillRect/>
          </a:stretch>
        </p:blipFill>
        <p:spPr>
          <a:xfrm>
            <a:off x="11204000" y="-104713"/>
            <a:ext cx="2251771" cy="1911881"/>
          </a:xfrm>
          <a:prstGeom prst="rect">
            <a:avLst/>
          </a:prstGeom>
        </p:spPr>
      </p:pic>
      <p:sp>
        <p:nvSpPr>
          <p:cNvPr id="7" name="Title 1"/>
          <p:cNvSpPr txBox="1">
            <a:spLocks/>
          </p:cNvSpPr>
          <p:nvPr/>
        </p:nvSpPr>
        <p:spPr>
          <a:xfrm>
            <a:off x="-1" y="0"/>
            <a:ext cx="12436475" cy="750627"/>
          </a:xfrm>
          <a:prstGeom prst="rect">
            <a:avLst/>
          </a:prstGeom>
        </p:spPr>
        <p:txBody>
          <a:bodyPr vert="horz" wrap="square" lIns="146304" tIns="91440" rIns="146304" bIns="91440" rtlCol="0" anchor="t">
            <a:noAutofit/>
          </a:bodyPr>
          <a:lstStyle>
            <a:lvl1pPr>
              <a:lnSpc>
                <a:spcPct val="90000"/>
              </a:lnSpc>
              <a:spcBef>
                <a:spcPct val="0"/>
              </a:spcBef>
              <a:buNone/>
              <a:defRPr lang="en-US" sz="4800" b="0" cap="none" spc="-102" baseline="0" dirty="0" smtClean="0">
                <a:ln w="3175">
                  <a:noFill/>
                </a:ln>
                <a:gradFill>
                  <a:gsLst>
                    <a:gs pos="1250">
                      <a:schemeClr val="tx1"/>
                    </a:gs>
                    <a:gs pos="100000">
                      <a:schemeClr val="tx1"/>
                    </a:gs>
                  </a:gsLst>
                  <a:lin ang="5400000" scaled="0"/>
                </a:gradFill>
                <a:effectLst/>
                <a:latin typeface="+mj-lt"/>
                <a:cs typeface="Segoe UI" pitchFamily="34" charset="0"/>
              </a:defRPr>
            </a:lvl1pPr>
          </a:lstStyle>
          <a:p>
            <a:r>
              <a:rPr lang="en-US" dirty="0"/>
              <a:t>Business Case</a:t>
            </a:r>
          </a:p>
        </p:txBody>
      </p:sp>
      <p:sp>
        <p:nvSpPr>
          <p:cNvPr id="2" name="Rectangle 1"/>
          <p:cNvSpPr/>
          <p:nvPr/>
        </p:nvSpPr>
        <p:spPr>
          <a:xfrm>
            <a:off x="201881" y="851228"/>
            <a:ext cx="11815948" cy="6001643"/>
          </a:xfrm>
          <a:prstGeom prst="rect">
            <a:avLst/>
          </a:prstGeom>
        </p:spPr>
        <p:txBody>
          <a:bodyPr wrap="square">
            <a:spAutoFit/>
          </a:bodyPr>
          <a:lstStyle/>
          <a:p>
            <a:r>
              <a:rPr lang="en-US" sz="2400" dirty="0">
                <a:latin typeface="+mj-lt"/>
              </a:rPr>
              <a:t>Wide World Importers is a company that imports and distributes products in </a:t>
            </a:r>
            <a:r>
              <a:rPr lang="en-US" sz="2400" dirty="0">
                <a:solidFill>
                  <a:schemeClr val="accent1">
                    <a:lumMod val="75000"/>
                  </a:schemeClr>
                </a:solidFill>
                <a:latin typeface="+mj-lt"/>
              </a:rPr>
              <a:t>multiple countries</a:t>
            </a:r>
            <a:r>
              <a:rPr lang="en-US" sz="2400" dirty="0">
                <a:latin typeface="+mj-lt"/>
              </a:rPr>
              <a:t> around the globe.  </a:t>
            </a:r>
          </a:p>
          <a:p>
            <a:endParaRPr lang="en-US" sz="2400" dirty="0">
              <a:latin typeface="+mj-lt"/>
            </a:endParaRPr>
          </a:p>
          <a:p>
            <a:r>
              <a:rPr lang="en-US" sz="2400" dirty="0">
                <a:latin typeface="+mj-lt"/>
              </a:rPr>
              <a:t>With several thousand employees, Information Technology is at the heart of our business operations, and has a significant cost.</a:t>
            </a:r>
          </a:p>
          <a:p>
            <a:endParaRPr lang="en-US" sz="2400" dirty="0">
              <a:latin typeface="+mj-lt"/>
            </a:endParaRPr>
          </a:p>
          <a:p>
            <a:r>
              <a:rPr lang="en-US" sz="2400" dirty="0">
                <a:latin typeface="+mj-lt"/>
              </a:rPr>
              <a:t>Since we handle materials in multiple countries, we have a lot of private data, financial information, and other targets which have a high security profile. We are concerned with both external and internal attacks. In addition, many of our employees work in remote locations, some on ships and other challenging environments. </a:t>
            </a:r>
          </a:p>
          <a:p>
            <a:endParaRPr lang="en-US" sz="2400" dirty="0">
              <a:latin typeface="+mj-lt"/>
            </a:endParaRPr>
          </a:p>
          <a:p>
            <a:r>
              <a:rPr lang="en-US" sz="2400" dirty="0">
                <a:latin typeface="+mj-lt"/>
              </a:rPr>
              <a:t>All of our IT systems have been modernized, and we’re taking in a significant amount of semi-structured data from computing devices – most of it real-time. After talking with our IT leadership, we need a way to determine anomalies within the data streams we get, and have a way to observe the anomalies in a dashboard so that we can respond to outages, threats, and changes quickly. </a:t>
            </a:r>
          </a:p>
        </p:txBody>
      </p:sp>
    </p:spTree>
    <p:extLst>
      <p:ext uri="{BB962C8B-B14F-4D97-AF65-F5344CB8AC3E}">
        <p14:creationId xmlns:p14="http://schemas.microsoft.com/office/powerpoint/2010/main" val="21023451"/>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BEBA8EAE-BF5A-486C-A8C5-ECC9F3942E4B}">
                <a14:imgProps xmlns:a14="http://schemas.microsoft.com/office/drawing/2010/main">
                  <a14:imgLayer r:embed="rId4">
                    <a14:imgEffect>
                      <a14:brightnessContrast bright="26000" contrast="-56000"/>
                    </a14:imgEffect>
                  </a14:imgLayer>
                </a14:imgProps>
              </a:ext>
            </a:extLst>
          </a:blip>
          <a:stretch>
            <a:fillRect/>
          </a:stretch>
        </p:blipFill>
        <p:spPr>
          <a:xfrm>
            <a:off x="11213008" y="-205314"/>
            <a:ext cx="2251771" cy="1911881"/>
          </a:xfrm>
          <a:prstGeom prst="rect">
            <a:avLst/>
          </a:prstGeom>
        </p:spPr>
      </p:pic>
      <p:sp>
        <p:nvSpPr>
          <p:cNvPr id="7" name="Title 1"/>
          <p:cNvSpPr txBox="1">
            <a:spLocks/>
          </p:cNvSpPr>
          <p:nvPr/>
        </p:nvSpPr>
        <p:spPr>
          <a:xfrm>
            <a:off x="-1" y="0"/>
            <a:ext cx="12436475" cy="750627"/>
          </a:xfrm>
          <a:prstGeom prst="rect">
            <a:avLst/>
          </a:prstGeom>
        </p:spPr>
        <p:txBody>
          <a:bodyPr vert="horz" wrap="square" lIns="146304" tIns="91440" rIns="146304" bIns="91440" rtlCol="0" anchor="t">
            <a:noAutofit/>
          </a:bodyPr>
          <a:lstStyle>
            <a:lvl1pPr>
              <a:lnSpc>
                <a:spcPct val="90000"/>
              </a:lnSpc>
              <a:spcBef>
                <a:spcPct val="0"/>
              </a:spcBef>
              <a:buNone/>
              <a:defRPr lang="en-US" sz="4800" b="0" cap="none" spc="-102" baseline="0" dirty="0" smtClean="0">
                <a:ln w="3175">
                  <a:noFill/>
                </a:ln>
                <a:gradFill>
                  <a:gsLst>
                    <a:gs pos="1250">
                      <a:schemeClr val="tx1"/>
                    </a:gs>
                    <a:gs pos="100000">
                      <a:schemeClr val="tx1"/>
                    </a:gs>
                  </a:gsLst>
                  <a:lin ang="5400000" scaled="0"/>
                </a:gradFill>
                <a:effectLst/>
                <a:latin typeface="+mj-lt"/>
                <a:cs typeface="Segoe UI" pitchFamily="34" charset="0"/>
              </a:defRPr>
            </a:lvl1pPr>
          </a:lstStyle>
          <a:p>
            <a:r>
              <a:rPr lang="en-US" dirty="0"/>
              <a:t>Design Statements</a:t>
            </a:r>
          </a:p>
        </p:txBody>
      </p:sp>
      <p:sp>
        <p:nvSpPr>
          <p:cNvPr id="2" name="Rectangle 1"/>
          <p:cNvSpPr/>
          <p:nvPr/>
        </p:nvSpPr>
        <p:spPr>
          <a:xfrm>
            <a:off x="201881" y="851228"/>
            <a:ext cx="11815948" cy="6001643"/>
          </a:xfrm>
          <a:prstGeom prst="rect">
            <a:avLst/>
          </a:prstGeom>
        </p:spPr>
        <p:txBody>
          <a:bodyPr wrap="square">
            <a:spAutoFit/>
          </a:bodyPr>
          <a:lstStyle/>
          <a:p>
            <a:r>
              <a:rPr lang="en-US" sz="2400" dirty="0">
                <a:latin typeface="+mj-lt"/>
              </a:rPr>
              <a:t>Wide World Importers is a company that imports and distributes products in </a:t>
            </a:r>
            <a:r>
              <a:rPr lang="en-US" sz="2400" b="1" dirty="0">
                <a:solidFill>
                  <a:srgbClr val="00B050"/>
                </a:solidFill>
                <a:latin typeface="+mj-lt"/>
              </a:rPr>
              <a:t>multiple countries </a:t>
            </a:r>
            <a:r>
              <a:rPr lang="en-US" sz="2400" dirty="0">
                <a:latin typeface="+mj-lt"/>
              </a:rPr>
              <a:t>around the globe.  </a:t>
            </a:r>
          </a:p>
          <a:p>
            <a:endParaRPr lang="en-US" sz="2400" dirty="0">
              <a:latin typeface="+mj-lt"/>
            </a:endParaRPr>
          </a:p>
          <a:p>
            <a:r>
              <a:rPr lang="en-US" sz="2400" dirty="0">
                <a:latin typeface="+mj-lt"/>
              </a:rPr>
              <a:t>With </a:t>
            </a:r>
            <a:r>
              <a:rPr lang="en-US" sz="2400" b="1" dirty="0">
                <a:solidFill>
                  <a:srgbClr val="00B050"/>
                </a:solidFill>
                <a:latin typeface="+mj-lt"/>
              </a:rPr>
              <a:t>several thousand employees</a:t>
            </a:r>
            <a:r>
              <a:rPr lang="en-US" sz="2400" dirty="0">
                <a:latin typeface="+mj-lt"/>
              </a:rPr>
              <a:t>, Information Technology is at the heart of our business operations, and has a </a:t>
            </a:r>
            <a:r>
              <a:rPr lang="en-US" sz="2400" b="1" dirty="0">
                <a:solidFill>
                  <a:srgbClr val="00B050"/>
                </a:solidFill>
                <a:latin typeface="+mj-lt"/>
              </a:rPr>
              <a:t>significant cost</a:t>
            </a:r>
            <a:r>
              <a:rPr lang="en-US" sz="2400" dirty="0">
                <a:latin typeface="+mj-lt"/>
              </a:rPr>
              <a:t>.</a:t>
            </a:r>
          </a:p>
          <a:p>
            <a:endParaRPr lang="en-US" sz="2400" dirty="0">
              <a:latin typeface="+mj-lt"/>
            </a:endParaRPr>
          </a:p>
          <a:p>
            <a:r>
              <a:rPr lang="en-US" sz="2400" dirty="0">
                <a:latin typeface="+mj-lt"/>
              </a:rPr>
              <a:t>Since we handle materials in multiple countries, we have a </a:t>
            </a:r>
            <a:r>
              <a:rPr lang="en-US" sz="2400" b="1" dirty="0">
                <a:solidFill>
                  <a:srgbClr val="00B050"/>
                </a:solidFill>
                <a:latin typeface="+mj-lt"/>
              </a:rPr>
              <a:t>lot of private data</a:t>
            </a:r>
            <a:r>
              <a:rPr lang="en-US" sz="2400" dirty="0">
                <a:latin typeface="+mj-lt"/>
              </a:rPr>
              <a:t>, </a:t>
            </a:r>
            <a:r>
              <a:rPr lang="en-US" sz="2400" b="1" dirty="0">
                <a:solidFill>
                  <a:srgbClr val="00B050"/>
                </a:solidFill>
                <a:latin typeface="+mj-lt"/>
              </a:rPr>
              <a:t>financial information</a:t>
            </a:r>
            <a:r>
              <a:rPr lang="en-US" sz="2400" dirty="0">
                <a:latin typeface="+mj-lt"/>
              </a:rPr>
              <a:t>, and other </a:t>
            </a:r>
            <a:r>
              <a:rPr lang="en-US" sz="2400" b="1" dirty="0">
                <a:solidFill>
                  <a:srgbClr val="00B050"/>
                </a:solidFill>
                <a:latin typeface="+mj-lt"/>
              </a:rPr>
              <a:t>targets</a:t>
            </a:r>
            <a:r>
              <a:rPr lang="en-US" sz="2400" dirty="0">
                <a:latin typeface="+mj-lt"/>
              </a:rPr>
              <a:t> which have a </a:t>
            </a:r>
            <a:r>
              <a:rPr lang="en-US" sz="2400" b="1" dirty="0">
                <a:solidFill>
                  <a:srgbClr val="00B050"/>
                </a:solidFill>
                <a:latin typeface="+mj-lt"/>
              </a:rPr>
              <a:t>high security profile</a:t>
            </a:r>
            <a:r>
              <a:rPr lang="en-US" sz="2400" dirty="0">
                <a:latin typeface="+mj-lt"/>
              </a:rPr>
              <a:t>. We are concerned with both </a:t>
            </a:r>
            <a:r>
              <a:rPr lang="en-US" sz="2400" b="1" dirty="0">
                <a:solidFill>
                  <a:srgbClr val="00B050"/>
                </a:solidFill>
                <a:latin typeface="+mj-lt"/>
              </a:rPr>
              <a:t>external and internal </a:t>
            </a:r>
            <a:r>
              <a:rPr lang="en-US" sz="2400" dirty="0">
                <a:latin typeface="+mj-lt"/>
              </a:rPr>
              <a:t>attacks. In addition, many of our employees work in remote locations, some on ships and other </a:t>
            </a:r>
            <a:r>
              <a:rPr lang="en-US" sz="2400" b="1" dirty="0">
                <a:solidFill>
                  <a:srgbClr val="00B050"/>
                </a:solidFill>
                <a:latin typeface="+mj-lt"/>
              </a:rPr>
              <a:t>challenging environments</a:t>
            </a:r>
            <a:r>
              <a:rPr lang="en-US" sz="2400" dirty="0">
                <a:latin typeface="+mj-lt"/>
              </a:rPr>
              <a:t>. </a:t>
            </a:r>
          </a:p>
          <a:p>
            <a:endParaRPr lang="en-US" sz="2400" dirty="0">
              <a:latin typeface="+mj-lt"/>
            </a:endParaRPr>
          </a:p>
          <a:p>
            <a:r>
              <a:rPr lang="en-US" sz="2400" dirty="0">
                <a:latin typeface="+mj-lt"/>
              </a:rPr>
              <a:t>All of our IT systems have been modernized, and we’re </a:t>
            </a:r>
            <a:r>
              <a:rPr lang="en-US" sz="2400" b="1" dirty="0">
                <a:solidFill>
                  <a:srgbClr val="00B050"/>
                </a:solidFill>
                <a:latin typeface="+mj-lt"/>
              </a:rPr>
              <a:t>taking in a significant amount of semi-structured data</a:t>
            </a:r>
            <a:r>
              <a:rPr lang="en-US" sz="2400" dirty="0">
                <a:latin typeface="+mj-lt"/>
              </a:rPr>
              <a:t> from computing devices – most of it </a:t>
            </a:r>
            <a:r>
              <a:rPr lang="en-US" sz="2400" b="1" dirty="0">
                <a:solidFill>
                  <a:srgbClr val="00B050"/>
                </a:solidFill>
                <a:latin typeface="+mj-lt"/>
              </a:rPr>
              <a:t>real-time</a:t>
            </a:r>
            <a:r>
              <a:rPr lang="en-US" sz="2400" dirty="0">
                <a:latin typeface="+mj-lt"/>
              </a:rPr>
              <a:t>. After talking with our IT leadership, we need a way to </a:t>
            </a:r>
            <a:r>
              <a:rPr lang="en-US" sz="2400" b="1" dirty="0">
                <a:solidFill>
                  <a:srgbClr val="00B050"/>
                </a:solidFill>
                <a:latin typeface="+mj-lt"/>
              </a:rPr>
              <a:t>determine anomalies</a:t>
            </a:r>
            <a:r>
              <a:rPr lang="en-US" sz="2400" dirty="0">
                <a:latin typeface="+mj-lt"/>
              </a:rPr>
              <a:t> within the </a:t>
            </a:r>
            <a:r>
              <a:rPr lang="en-US" sz="2400" b="1" dirty="0">
                <a:solidFill>
                  <a:srgbClr val="00B050"/>
                </a:solidFill>
                <a:latin typeface="+mj-lt"/>
              </a:rPr>
              <a:t>data streams </a:t>
            </a:r>
            <a:r>
              <a:rPr lang="en-US" sz="2400" dirty="0">
                <a:latin typeface="+mj-lt"/>
              </a:rPr>
              <a:t>we get, and have a way to </a:t>
            </a:r>
            <a:r>
              <a:rPr lang="en-US" sz="2400" b="1" dirty="0">
                <a:solidFill>
                  <a:srgbClr val="00B050"/>
                </a:solidFill>
                <a:latin typeface="+mj-lt"/>
              </a:rPr>
              <a:t>observe the anomalies </a:t>
            </a:r>
            <a:r>
              <a:rPr lang="en-US" sz="2400" dirty="0">
                <a:latin typeface="+mj-lt"/>
              </a:rPr>
              <a:t>in a </a:t>
            </a:r>
            <a:r>
              <a:rPr lang="en-US" sz="2400" b="1" dirty="0">
                <a:solidFill>
                  <a:srgbClr val="00B050"/>
                </a:solidFill>
                <a:latin typeface="+mj-lt"/>
              </a:rPr>
              <a:t>dashboard</a:t>
            </a:r>
            <a:r>
              <a:rPr lang="en-US" sz="2400" dirty="0">
                <a:latin typeface="+mj-lt"/>
              </a:rPr>
              <a:t> so that we can respond to outages, threats, and changes </a:t>
            </a:r>
            <a:r>
              <a:rPr lang="en-US" sz="2400" b="1" dirty="0">
                <a:solidFill>
                  <a:srgbClr val="00B050"/>
                </a:solidFill>
                <a:latin typeface="+mj-lt"/>
              </a:rPr>
              <a:t>quickly</a:t>
            </a:r>
            <a:r>
              <a:rPr lang="en-US" sz="2400" dirty="0">
                <a:latin typeface="+mj-lt"/>
              </a:rPr>
              <a:t>. </a:t>
            </a:r>
          </a:p>
        </p:txBody>
      </p:sp>
    </p:spTree>
    <p:extLst>
      <p:ext uri="{BB962C8B-B14F-4D97-AF65-F5344CB8AC3E}">
        <p14:creationId xmlns:p14="http://schemas.microsoft.com/office/powerpoint/2010/main" val="151432722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1" y="0"/>
            <a:ext cx="3916907" cy="1392072"/>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102" normalizeH="0" baseline="0" noProof="0" dirty="0">
                <a:ln w="3175">
                  <a:noFill/>
                </a:ln>
                <a:solidFill>
                  <a:schemeClr val="tx1">
                    <a:lumMod val="50000"/>
                  </a:schemeClr>
                </a:solidFill>
                <a:effectLst/>
                <a:uLnTx/>
                <a:uFillTx/>
                <a:latin typeface="+mj-lt"/>
                <a:ea typeface="+mn-ea"/>
                <a:cs typeface="Segoe UI" pitchFamily="34" charset="0"/>
              </a:rPr>
              <a:t>Data Storage</a:t>
            </a:r>
            <a:r>
              <a:rPr kumimoji="0" lang="en-US" sz="4400" b="0" i="0" u="none" strike="noStrike" kern="1200" cap="none" spc="-102" normalizeH="0" noProof="0" dirty="0">
                <a:ln w="3175">
                  <a:noFill/>
                </a:ln>
                <a:solidFill>
                  <a:schemeClr val="tx1">
                    <a:lumMod val="50000"/>
                  </a:schemeClr>
                </a:solidFill>
                <a:effectLst/>
                <a:uLnTx/>
                <a:uFillTx/>
                <a:latin typeface="+mj-lt"/>
                <a:ea typeface="+mn-ea"/>
                <a:cs typeface="Segoe UI" pitchFamily="34" charset="0"/>
              </a:rPr>
              <a:t> Technologies</a:t>
            </a:r>
            <a:endParaRPr kumimoji="0" lang="en-US" sz="4000" b="0" i="0" u="none" strike="noStrike" kern="1200" cap="none" spc="-102" normalizeH="0" baseline="0" noProof="0" dirty="0">
              <a:ln w="3175">
                <a:noFill/>
              </a:ln>
              <a:solidFill>
                <a:schemeClr val="tx1">
                  <a:lumMod val="50000"/>
                </a:schemeClr>
              </a:solidFill>
              <a:effectLst/>
              <a:uLnTx/>
              <a:uFillTx/>
              <a:latin typeface="+mj-lt"/>
              <a:ea typeface="+mn-ea"/>
              <a:cs typeface="Segoe UI" pitchFamily="34" charset="0"/>
            </a:endParaRPr>
          </a:p>
        </p:txBody>
      </p:sp>
      <p:pic>
        <p:nvPicPr>
          <p:cNvPr id="2" name="Picture 1"/>
          <p:cNvPicPr>
            <a:picLocks noChangeAspect="1"/>
          </p:cNvPicPr>
          <p:nvPr/>
        </p:nvPicPr>
        <p:blipFill>
          <a:blip r:embed="rId3"/>
          <a:stretch>
            <a:fillRect/>
          </a:stretch>
        </p:blipFill>
        <p:spPr>
          <a:xfrm>
            <a:off x="3605670" y="88675"/>
            <a:ext cx="8830805" cy="6740327"/>
          </a:xfrm>
          <a:prstGeom prst="rect">
            <a:avLst/>
          </a:prstGeom>
        </p:spPr>
      </p:pic>
    </p:spTree>
    <p:extLst>
      <p:ext uri="{BB962C8B-B14F-4D97-AF65-F5344CB8AC3E}">
        <p14:creationId xmlns:p14="http://schemas.microsoft.com/office/powerpoint/2010/main" val="9050989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2.xml><?xml version="1.0" encoding="utf-8"?>
<a:theme xmlns:a="http://schemas.openxmlformats.org/drawingml/2006/main" name="1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3.xml><?xml version="1.0" encoding="utf-8"?>
<a:theme xmlns:a="http://schemas.openxmlformats.org/drawingml/2006/main" name="2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4.xml><?xml version="1.0" encoding="utf-8"?>
<a:theme xmlns:a="http://schemas.openxmlformats.org/drawingml/2006/main" name="3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5.xml><?xml version="1.0" encoding="utf-8"?>
<a:theme xmlns:a="http://schemas.openxmlformats.org/drawingml/2006/main" name="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 id="{0CF04701-FFD5-4B9C-BA9B-3602AA75F0C6}" vid="{8E9872BC-2D83-4E0F-BEE4-3ABA8C4EF092}"/>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ortana%20Analytics_v1</Template>
  <TotalTime>0</TotalTime>
  <Words>2380</Words>
  <Application>Microsoft Office PowerPoint</Application>
  <PresentationFormat>Custom</PresentationFormat>
  <Paragraphs>266</Paragraphs>
  <Slides>18</Slides>
  <Notes>18</Notes>
  <HiddenSlides>0</HiddenSlides>
  <MMClips>0</MMClips>
  <ScaleCrop>false</ScaleCrop>
  <HeadingPairs>
    <vt:vector size="8" baseType="variant">
      <vt:variant>
        <vt:lpstr>Fonts Used</vt:lpstr>
      </vt:variant>
      <vt:variant>
        <vt:i4>8</vt:i4>
      </vt:variant>
      <vt:variant>
        <vt:lpstr>Theme</vt:lpstr>
      </vt:variant>
      <vt:variant>
        <vt:i4>5</vt:i4>
      </vt:variant>
      <vt:variant>
        <vt:lpstr>Embedded OLE Servers</vt:lpstr>
      </vt:variant>
      <vt:variant>
        <vt:i4>1</vt:i4>
      </vt:variant>
      <vt:variant>
        <vt:lpstr>Slide Titles</vt:lpstr>
      </vt:variant>
      <vt:variant>
        <vt:i4>18</vt:i4>
      </vt:variant>
    </vt:vector>
  </HeadingPairs>
  <TitlesOfParts>
    <vt:vector size="32" baseType="lpstr">
      <vt:lpstr>SimSun</vt:lpstr>
      <vt:lpstr>Arial</vt:lpstr>
      <vt:lpstr>Calibri</vt:lpstr>
      <vt:lpstr>Consolas</vt:lpstr>
      <vt:lpstr>Segoe UI</vt:lpstr>
      <vt:lpstr>Segoe UI Light</vt:lpstr>
      <vt:lpstr>Segoe UI Semilight</vt:lpstr>
      <vt:lpstr>Wingdings</vt:lpstr>
      <vt:lpstr>FY15 Enterprise identity theme</vt:lpstr>
      <vt:lpstr>1_WHITE TEMPLATE</vt:lpstr>
      <vt:lpstr>2_WHITE TEMPLATE</vt:lpstr>
      <vt:lpstr>3_WHITE TEMPLATE</vt:lpstr>
      <vt:lpstr>5-50109_Microsoft_Light_Template</vt:lpstr>
      <vt:lpstr>think-cell Slide</vt:lpstr>
      <vt:lpstr>PowerPoint Presentation</vt:lpstr>
      <vt:lpstr>PowerPoint Presentation</vt:lpstr>
      <vt:lpstr>The Data Science Process and Platform</vt:lpstr>
      <vt:lpstr>The Team Data Science Process </vt:lpstr>
      <vt:lpstr>The Azure Platform for Analytics and AI</vt:lpstr>
      <vt:lpstr>Defining your Objectives</vt:lpstr>
      <vt:lpstr>PowerPoint Presentation</vt:lpstr>
      <vt:lpstr>PowerPoint Presentation</vt:lpstr>
      <vt:lpstr>PowerPoint Presentation</vt:lpstr>
      <vt:lpstr>PowerPoint Presentation</vt:lpstr>
      <vt:lpstr>PowerPoint Presentation</vt:lpstr>
      <vt:lpstr>PowerPoint Presentation</vt:lpstr>
      <vt:lpstr>Identify Data Sources</vt:lpstr>
      <vt:lpstr>Locating and Inspecting data</vt:lpstr>
      <vt:lpstr>Azure Data Catalog</vt:lpstr>
      <vt:lpstr>Lab:</vt:lpstr>
      <vt:lpstr>Analytics Options</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Business Analytics and AI: Building Solutions - 1 - Setup and Overview</dc:title>
  <dc:subject/>
  <dc:creator/>
  <cp:keywords/>
  <dc:description/>
  <cp:lastModifiedBy/>
  <cp:revision>1</cp:revision>
  <dcterms:created xsi:type="dcterms:W3CDTF">2016-11-27T02:00:30Z</dcterms:created>
  <dcterms:modified xsi:type="dcterms:W3CDTF">2017-09-08T21:46:47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SetBy">
    <vt:lpwstr>bwoody@microsoft.com</vt:lpwstr>
  </property>
  <property fmtid="{D5CDD505-2E9C-101B-9397-08002B2CF9AE}" pid="6" name="MSIP_Label_f42aa342-8706-4288-bd11-ebb85995028c_SetDate">
    <vt:lpwstr>2017-05-22T07:25:59.6510340-04:00</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